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7"/>
  </p:notesMasterIdLst>
  <p:sldIdLst>
    <p:sldId id="292" r:id="rId5"/>
    <p:sldId id="2146848399" r:id="rId6"/>
    <p:sldId id="2146848407" r:id="rId7"/>
    <p:sldId id="403" r:id="rId8"/>
    <p:sldId id="2146848398" r:id="rId9"/>
    <p:sldId id="2146848367" r:id="rId10"/>
    <p:sldId id="256" r:id="rId11"/>
    <p:sldId id="2146848327" r:id="rId12"/>
    <p:sldId id="2146848423" r:id="rId13"/>
    <p:sldId id="2146848408" r:id="rId14"/>
    <p:sldId id="2146848411" r:id="rId15"/>
    <p:sldId id="2146848419" r:id="rId16"/>
    <p:sldId id="2146848409" r:id="rId17"/>
    <p:sldId id="405" r:id="rId18"/>
    <p:sldId id="2146848420" r:id="rId19"/>
    <p:sldId id="2146848410" r:id="rId20"/>
    <p:sldId id="2146848422" r:id="rId21"/>
    <p:sldId id="2146848424" r:id="rId22"/>
    <p:sldId id="2146848425" r:id="rId23"/>
    <p:sldId id="2146848426" r:id="rId24"/>
    <p:sldId id="2146848427" r:id="rId25"/>
    <p:sldId id="408" r:id="rId26"/>
  </p:sldIdLst>
  <p:sldSz cx="9144000" cy="5143500" type="screen16x9"/>
  <p:notesSz cx="6858000" cy="9144000"/>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randin, Gunnar Dr." initials="BD" lastIdx="8" clrIdx="6">
    <p:extLst>
      <p:ext uri="{19B8F6BF-5375-455C-9EA6-DF929625EA0E}">
        <p15:presenceInfo xmlns:p15="http://schemas.microsoft.com/office/powerpoint/2012/main" userId="S::gunnar.brandin@oge.net::ddd5b481-b2f0-4db7-bfd0-1b0c0225545f" providerId="AD"/>
      </p:ext>
    </p:extLst>
  </p:cmAuthor>
  <p:cmAuthor id="1" name="Wilbert, Sandra" initials="WS" lastIdx="1" clrIdx="0">
    <p:extLst>
      <p:ext uri="{19B8F6BF-5375-455C-9EA6-DF929625EA0E}">
        <p15:presenceInfo xmlns:p15="http://schemas.microsoft.com/office/powerpoint/2012/main" userId="S::sandra.wilbert@oge.net::a9e68d1f-f00e-4498-9a55-c0ddd86f8f3b" providerId="AD"/>
      </p:ext>
    </p:extLst>
  </p:cmAuthor>
  <p:cmAuthor id="8" name="Strand, Bard" initials="SB" lastIdx="2" clrIdx="7">
    <p:extLst>
      <p:ext uri="{19B8F6BF-5375-455C-9EA6-DF929625EA0E}">
        <p15:presenceInfo xmlns:p15="http://schemas.microsoft.com/office/powerpoint/2012/main" userId="S::Bard.Strand@oge.net::7e305e17-6e91-4eae-8921-05d102670a13" providerId="AD"/>
      </p:ext>
    </p:extLst>
  </p:cmAuthor>
  <p:cmAuthor id="2" name="Brauner, Andre" initials="BA" lastIdx="5" clrIdx="1">
    <p:extLst>
      <p:ext uri="{19B8F6BF-5375-455C-9EA6-DF929625EA0E}">
        <p15:presenceInfo xmlns:p15="http://schemas.microsoft.com/office/powerpoint/2012/main" userId="S::Andre.Brauner@oge.net::84cad9e1-5c6c-4a8f-b4b3-2c7dad37174c" providerId="AD"/>
      </p:ext>
    </p:extLst>
  </p:cmAuthor>
  <p:cmAuthor id="9" name="Kißing, Franz-Josef" initials="KF" lastIdx="1" clrIdx="8">
    <p:extLst>
      <p:ext uri="{19B8F6BF-5375-455C-9EA6-DF929625EA0E}">
        <p15:presenceInfo xmlns:p15="http://schemas.microsoft.com/office/powerpoint/2012/main" userId="S::franz-josef.kissing@oge.net::9d050f69-97fe-4132-9e79-7f5472d89d21" providerId="AD"/>
      </p:ext>
    </p:extLst>
  </p:cmAuthor>
  <p:cmAuthor id="3" name="Majert, Benjamin" initials="MB" lastIdx="2" clrIdx="2">
    <p:extLst>
      <p:ext uri="{19B8F6BF-5375-455C-9EA6-DF929625EA0E}">
        <p15:presenceInfo xmlns:p15="http://schemas.microsoft.com/office/powerpoint/2012/main" userId="S::benjamin.majert@oge.net::2ab7a7a0-7441-4a0a-97cc-5d684217738e" providerId="AD"/>
      </p:ext>
    </p:extLst>
  </p:cmAuthor>
  <p:cmAuthor id="4" name="Hilmer, Jan Michel" initials="HJM" lastIdx="1" clrIdx="3">
    <p:extLst>
      <p:ext uri="{19B8F6BF-5375-455C-9EA6-DF929625EA0E}">
        <p15:presenceInfo xmlns:p15="http://schemas.microsoft.com/office/powerpoint/2012/main" userId="S::jan-michel.hilmer@oge.net::a636ce3c-ff11-4ddb-8338-37a453bd7e0b" providerId="AD"/>
      </p:ext>
    </p:extLst>
  </p:cmAuthor>
  <p:cmAuthor id="5" name="Nierhoff, Karolin" initials="NK" lastIdx="3" clrIdx="4">
    <p:extLst>
      <p:ext uri="{19B8F6BF-5375-455C-9EA6-DF929625EA0E}">
        <p15:presenceInfo xmlns:p15="http://schemas.microsoft.com/office/powerpoint/2012/main" userId="S::karolin.nierhoff@oge.net::099bab8f-0f6e-4c88-abc8-cfe3e0a29359" providerId="AD"/>
      </p:ext>
    </p:extLst>
  </p:cmAuthor>
  <p:cmAuthor id="6" name="Schuppner, Thorsten" initials="ST" lastIdx="1" clrIdx="5">
    <p:extLst>
      <p:ext uri="{19B8F6BF-5375-455C-9EA6-DF929625EA0E}">
        <p15:presenceInfo xmlns:p15="http://schemas.microsoft.com/office/powerpoint/2012/main" userId="S::thorsten.schuppner@oge.net::a736fccf-f068-4d59-a73e-77e533fa8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48686"/>
    <a:srgbClr val="7030A0"/>
    <a:srgbClr val="32CBD7"/>
    <a:srgbClr val="2BD4D4"/>
    <a:srgbClr val="00FFFF"/>
    <a:srgbClr val="1563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603" autoAdjust="0"/>
    <p:restoredTop sz="86412" autoAdjust="0"/>
  </p:normalViewPr>
  <p:slideViewPr>
    <p:cSldViewPr snapToGrid="0">
      <p:cViewPr varScale="1">
        <p:scale>
          <a:sx n="93" d="100"/>
          <a:sy n="93" d="100"/>
        </p:scale>
        <p:origin x="581" y="72"/>
      </p:cViewPr>
      <p:guideLst>
        <p:guide orient="horz" pos="1620"/>
        <p:guide pos="2880"/>
      </p:guideLst>
    </p:cSldViewPr>
  </p:slideViewPr>
  <p:outlineViewPr>
    <p:cViewPr>
      <p:scale>
        <a:sx n="33" d="100"/>
        <a:sy n="33" d="100"/>
      </p:scale>
      <p:origin x="0" y="-7848"/>
    </p:cViewPr>
  </p:outlineViewPr>
  <p:notesTextViewPr>
    <p:cViewPr>
      <p:scale>
        <a:sx n="1" d="1"/>
        <a:sy n="1" d="1"/>
      </p:scale>
      <p:origin x="0" y="0"/>
    </p:cViewPr>
  </p:notesTextViewPr>
  <p:notesViewPr>
    <p:cSldViewPr snapToGrid="0">
      <p:cViewPr varScale="1">
        <p:scale>
          <a:sx n="62" d="100"/>
          <a:sy n="62" d="100"/>
        </p:scale>
        <p:origin x="3226"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uner, Andre" userId="84cad9e1-5c6c-4a8f-b4b3-2c7dad37174c" providerId="ADAL" clId="{A902189F-37C8-4FF8-AFED-7605111CA6C6}"/>
    <pc:docChg chg="modSld">
      <pc:chgData name="Brauner, Andre" userId="84cad9e1-5c6c-4a8f-b4b3-2c7dad37174c" providerId="ADAL" clId="{A902189F-37C8-4FF8-AFED-7605111CA6C6}" dt="2022-07-15T10:55:58.132" v="11" actId="20577"/>
      <pc:docMkLst>
        <pc:docMk/>
      </pc:docMkLst>
      <pc:sldChg chg="modNotesTx">
        <pc:chgData name="Brauner, Andre" userId="84cad9e1-5c6c-4a8f-b4b3-2c7dad37174c" providerId="ADAL" clId="{A902189F-37C8-4FF8-AFED-7605111CA6C6}" dt="2022-07-15T10:54:56.579" v="0" actId="20577"/>
        <pc:sldMkLst>
          <pc:docMk/>
          <pc:sldMk cId="2490705620" sldId="403"/>
        </pc:sldMkLst>
      </pc:sldChg>
      <pc:sldChg chg="modNotesTx">
        <pc:chgData name="Brauner, Andre" userId="84cad9e1-5c6c-4a8f-b4b3-2c7dad37174c" providerId="ADAL" clId="{A902189F-37C8-4FF8-AFED-7605111CA6C6}" dt="2022-07-15T10:55:31.552" v="5" actId="20577"/>
        <pc:sldMkLst>
          <pc:docMk/>
          <pc:sldMk cId="751954636" sldId="405"/>
        </pc:sldMkLst>
      </pc:sldChg>
      <pc:sldChg chg="modNotesTx">
        <pc:chgData name="Brauner, Andre" userId="84cad9e1-5c6c-4a8f-b4b3-2c7dad37174c" providerId="ADAL" clId="{A902189F-37C8-4FF8-AFED-7605111CA6C6}" dt="2022-07-15T10:55:08.885" v="2" actId="20577"/>
        <pc:sldMkLst>
          <pc:docMk/>
          <pc:sldMk cId="1260260835" sldId="2146848367"/>
        </pc:sldMkLst>
      </pc:sldChg>
      <pc:sldChg chg="modNotesTx">
        <pc:chgData name="Brauner, Andre" userId="84cad9e1-5c6c-4a8f-b4b3-2c7dad37174c" providerId="ADAL" clId="{A902189F-37C8-4FF8-AFED-7605111CA6C6}" dt="2022-07-15T10:55:02.727" v="1" actId="20577"/>
        <pc:sldMkLst>
          <pc:docMk/>
          <pc:sldMk cId="2043516931" sldId="2146848398"/>
        </pc:sldMkLst>
      </pc:sldChg>
      <pc:sldChg chg="modNotesTx">
        <pc:chgData name="Brauner, Andre" userId="84cad9e1-5c6c-4a8f-b4b3-2c7dad37174c" providerId="ADAL" clId="{A902189F-37C8-4FF8-AFED-7605111CA6C6}" dt="2022-07-15T10:55:23.684" v="4" actId="20577"/>
        <pc:sldMkLst>
          <pc:docMk/>
          <pc:sldMk cId="1776375048" sldId="2146848411"/>
        </pc:sldMkLst>
      </pc:sldChg>
      <pc:sldChg chg="modNotesTx">
        <pc:chgData name="Brauner, Andre" userId="84cad9e1-5c6c-4a8f-b4b3-2c7dad37174c" providerId="ADAL" clId="{A902189F-37C8-4FF8-AFED-7605111CA6C6}" dt="2022-07-15T10:55:36.317" v="6" actId="20577"/>
        <pc:sldMkLst>
          <pc:docMk/>
          <pc:sldMk cId="2125930173" sldId="2146848420"/>
        </pc:sldMkLst>
      </pc:sldChg>
      <pc:sldChg chg="modNotesTx">
        <pc:chgData name="Brauner, Andre" userId="84cad9e1-5c6c-4a8f-b4b3-2c7dad37174c" providerId="ADAL" clId="{A902189F-37C8-4FF8-AFED-7605111CA6C6}" dt="2022-07-15T10:55:41.947" v="7" actId="20577"/>
        <pc:sldMkLst>
          <pc:docMk/>
          <pc:sldMk cId="1059036238" sldId="2146848422"/>
        </pc:sldMkLst>
      </pc:sldChg>
      <pc:sldChg chg="modNotesTx">
        <pc:chgData name="Brauner, Andre" userId="84cad9e1-5c6c-4a8f-b4b3-2c7dad37174c" providerId="ADAL" clId="{A902189F-37C8-4FF8-AFED-7605111CA6C6}" dt="2022-07-15T10:55:16.969" v="3" actId="20577"/>
        <pc:sldMkLst>
          <pc:docMk/>
          <pc:sldMk cId="384480549" sldId="2146848423"/>
        </pc:sldMkLst>
      </pc:sldChg>
      <pc:sldChg chg="modNotesTx">
        <pc:chgData name="Brauner, Andre" userId="84cad9e1-5c6c-4a8f-b4b3-2c7dad37174c" providerId="ADAL" clId="{A902189F-37C8-4FF8-AFED-7605111CA6C6}" dt="2022-07-15T10:55:49.245" v="9" actId="20577"/>
        <pc:sldMkLst>
          <pc:docMk/>
          <pc:sldMk cId="3072623152" sldId="2146848424"/>
        </pc:sldMkLst>
      </pc:sldChg>
      <pc:sldChg chg="modNotesTx">
        <pc:chgData name="Brauner, Andre" userId="84cad9e1-5c6c-4a8f-b4b3-2c7dad37174c" providerId="ADAL" clId="{A902189F-37C8-4FF8-AFED-7605111CA6C6}" dt="2022-07-15T10:55:53.350" v="10" actId="20577"/>
        <pc:sldMkLst>
          <pc:docMk/>
          <pc:sldMk cId="3848783174" sldId="2146848425"/>
        </pc:sldMkLst>
      </pc:sldChg>
      <pc:sldChg chg="modNotesTx">
        <pc:chgData name="Brauner, Andre" userId="84cad9e1-5c6c-4a8f-b4b3-2c7dad37174c" providerId="ADAL" clId="{A902189F-37C8-4FF8-AFED-7605111CA6C6}" dt="2022-07-15T10:55:58.132" v="11" actId="20577"/>
        <pc:sldMkLst>
          <pc:docMk/>
          <pc:sldMk cId="1715972746" sldId="21468484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7D1919-C6AC-435C-B312-637139C41E0A}" type="datetimeFigureOut">
              <a:rPr lang="de-DE" smtClean="0"/>
              <a:t>15.07.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029F81-569E-4D23-B409-5FE1121EF00E}" type="slidenum">
              <a:rPr lang="de-DE" smtClean="0"/>
              <a:t>‹Nr.›</a:t>
            </a:fld>
            <a:endParaRPr lang="de-DE"/>
          </a:p>
        </p:txBody>
      </p:sp>
    </p:spTree>
    <p:extLst>
      <p:ext uri="{BB962C8B-B14F-4D97-AF65-F5344CB8AC3E}">
        <p14:creationId xmlns:p14="http://schemas.microsoft.com/office/powerpoint/2010/main" val="312503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1</a:t>
            </a:fld>
            <a:endParaRPr lang="de-DE"/>
          </a:p>
        </p:txBody>
      </p:sp>
    </p:spTree>
    <p:extLst>
      <p:ext uri="{BB962C8B-B14F-4D97-AF65-F5344CB8AC3E}">
        <p14:creationId xmlns:p14="http://schemas.microsoft.com/office/powerpoint/2010/main" val="8534227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10</a:t>
            </a:fld>
            <a:endParaRPr lang="de-DE"/>
          </a:p>
        </p:txBody>
      </p:sp>
    </p:spTree>
    <p:extLst>
      <p:ext uri="{BB962C8B-B14F-4D97-AF65-F5344CB8AC3E}">
        <p14:creationId xmlns:p14="http://schemas.microsoft.com/office/powerpoint/2010/main" val="1481875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11</a:t>
            </a:fld>
            <a:endParaRPr lang="de-DE"/>
          </a:p>
        </p:txBody>
      </p:sp>
    </p:spTree>
    <p:extLst>
      <p:ext uri="{BB962C8B-B14F-4D97-AF65-F5344CB8AC3E}">
        <p14:creationId xmlns:p14="http://schemas.microsoft.com/office/powerpoint/2010/main" val="42891027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12</a:t>
            </a:fld>
            <a:endParaRPr lang="de-DE"/>
          </a:p>
        </p:txBody>
      </p:sp>
    </p:spTree>
    <p:extLst>
      <p:ext uri="{BB962C8B-B14F-4D97-AF65-F5344CB8AC3E}">
        <p14:creationId xmlns:p14="http://schemas.microsoft.com/office/powerpoint/2010/main" val="2361722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13</a:t>
            </a:fld>
            <a:endParaRPr lang="de-DE"/>
          </a:p>
        </p:txBody>
      </p:sp>
    </p:spTree>
    <p:extLst>
      <p:ext uri="{BB962C8B-B14F-4D97-AF65-F5344CB8AC3E}">
        <p14:creationId xmlns:p14="http://schemas.microsoft.com/office/powerpoint/2010/main" val="3954365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Foliennummernplatzhalter 3"/>
          <p:cNvSpPr>
            <a:spLocks noGrp="1"/>
          </p:cNvSpPr>
          <p:nvPr>
            <p:ph type="sldNum" sz="quarter" idx="5"/>
          </p:nvPr>
        </p:nvSpPr>
        <p:spPr/>
        <p:txBody>
          <a:bodyPr/>
          <a:lstStyle/>
          <a:p>
            <a:fld id="{52029F81-569E-4D23-B409-5FE1121EF00E}" type="slidenum">
              <a:rPr lang="de-DE" smtClean="0"/>
              <a:t>14</a:t>
            </a:fld>
            <a:endParaRPr lang="de-DE"/>
          </a:p>
        </p:txBody>
      </p:sp>
    </p:spTree>
    <p:extLst>
      <p:ext uri="{BB962C8B-B14F-4D97-AF65-F5344CB8AC3E}">
        <p14:creationId xmlns:p14="http://schemas.microsoft.com/office/powerpoint/2010/main" val="560947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15</a:t>
            </a:fld>
            <a:endParaRPr lang="de-DE"/>
          </a:p>
        </p:txBody>
      </p:sp>
    </p:spTree>
    <p:extLst>
      <p:ext uri="{BB962C8B-B14F-4D97-AF65-F5344CB8AC3E}">
        <p14:creationId xmlns:p14="http://schemas.microsoft.com/office/powerpoint/2010/main" val="7861409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16</a:t>
            </a:fld>
            <a:endParaRPr lang="de-DE"/>
          </a:p>
        </p:txBody>
      </p:sp>
    </p:spTree>
    <p:extLst>
      <p:ext uri="{BB962C8B-B14F-4D97-AF65-F5344CB8AC3E}">
        <p14:creationId xmlns:p14="http://schemas.microsoft.com/office/powerpoint/2010/main" val="557209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gn="l">
              <a:buFontTx/>
              <a:buNone/>
            </a:pPr>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17</a:t>
            </a:fld>
            <a:endParaRPr lang="de-DE"/>
          </a:p>
        </p:txBody>
      </p:sp>
    </p:spTree>
    <p:extLst>
      <p:ext uri="{BB962C8B-B14F-4D97-AF65-F5344CB8AC3E}">
        <p14:creationId xmlns:p14="http://schemas.microsoft.com/office/powerpoint/2010/main" val="353169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fontAlgn="base"/>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18</a:t>
            </a:fld>
            <a:endParaRPr lang="de-DE"/>
          </a:p>
        </p:txBody>
      </p:sp>
    </p:spTree>
    <p:extLst>
      <p:ext uri="{BB962C8B-B14F-4D97-AF65-F5344CB8AC3E}">
        <p14:creationId xmlns:p14="http://schemas.microsoft.com/office/powerpoint/2010/main" val="930205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19</a:t>
            </a:fld>
            <a:endParaRPr lang="de-DE"/>
          </a:p>
        </p:txBody>
      </p:sp>
    </p:spTree>
    <p:extLst>
      <p:ext uri="{BB962C8B-B14F-4D97-AF65-F5344CB8AC3E}">
        <p14:creationId xmlns:p14="http://schemas.microsoft.com/office/powerpoint/2010/main" val="289714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2</a:t>
            </a:fld>
            <a:endParaRPr lang="de-DE"/>
          </a:p>
        </p:txBody>
      </p:sp>
    </p:spTree>
    <p:extLst>
      <p:ext uri="{BB962C8B-B14F-4D97-AF65-F5344CB8AC3E}">
        <p14:creationId xmlns:p14="http://schemas.microsoft.com/office/powerpoint/2010/main" val="559102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20</a:t>
            </a:fld>
            <a:endParaRPr lang="de-DE"/>
          </a:p>
        </p:txBody>
      </p:sp>
    </p:spTree>
    <p:extLst>
      <p:ext uri="{BB962C8B-B14F-4D97-AF65-F5344CB8AC3E}">
        <p14:creationId xmlns:p14="http://schemas.microsoft.com/office/powerpoint/2010/main" val="118945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21</a:t>
            </a:fld>
            <a:endParaRPr lang="de-DE"/>
          </a:p>
        </p:txBody>
      </p:sp>
    </p:spTree>
    <p:extLst>
      <p:ext uri="{BB962C8B-B14F-4D97-AF65-F5344CB8AC3E}">
        <p14:creationId xmlns:p14="http://schemas.microsoft.com/office/powerpoint/2010/main" val="683057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22</a:t>
            </a:fld>
            <a:endParaRPr lang="de-DE"/>
          </a:p>
        </p:txBody>
      </p:sp>
    </p:spTree>
    <p:extLst>
      <p:ext uri="{BB962C8B-B14F-4D97-AF65-F5344CB8AC3E}">
        <p14:creationId xmlns:p14="http://schemas.microsoft.com/office/powerpoint/2010/main" val="1128590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2029F81-569E-4D23-B409-5FE1121EF00E}" type="slidenum">
              <a:rPr lang="de-DE" smtClean="0"/>
              <a:t>3</a:t>
            </a:fld>
            <a:endParaRPr lang="de-DE"/>
          </a:p>
        </p:txBody>
      </p:sp>
    </p:spTree>
    <p:extLst>
      <p:ext uri="{BB962C8B-B14F-4D97-AF65-F5344CB8AC3E}">
        <p14:creationId xmlns:p14="http://schemas.microsoft.com/office/powerpoint/2010/main" val="264618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4</a:t>
            </a:fld>
            <a:endParaRPr lang="de-DE"/>
          </a:p>
        </p:txBody>
      </p:sp>
    </p:spTree>
    <p:extLst>
      <p:ext uri="{BB962C8B-B14F-4D97-AF65-F5344CB8AC3E}">
        <p14:creationId xmlns:p14="http://schemas.microsoft.com/office/powerpoint/2010/main" val="1361665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4" name="Foliennummernplatzhalter 3"/>
          <p:cNvSpPr>
            <a:spLocks noGrp="1"/>
          </p:cNvSpPr>
          <p:nvPr>
            <p:ph type="sldNum" sz="quarter" idx="5"/>
          </p:nvPr>
        </p:nvSpPr>
        <p:spPr/>
        <p:txBody>
          <a:bodyPr/>
          <a:lstStyle/>
          <a:p>
            <a:pPr defTabSz="473979">
              <a:defRPr/>
            </a:pPr>
            <a:fld id="{52029F81-569E-4D23-B409-5FE1121EF00E}" type="slidenum">
              <a:rPr lang="de-DE">
                <a:solidFill>
                  <a:prstClr val="black"/>
                </a:solidFill>
                <a:latin typeface="Calibri" panose="020F0502020204030204"/>
              </a:rPr>
              <a:pPr defTabSz="473979">
                <a:defRPr/>
              </a:pPr>
              <a:t>5</a:t>
            </a:fld>
            <a:endParaRPr lang="de-DE">
              <a:solidFill>
                <a:prstClr val="black"/>
              </a:solidFill>
              <a:latin typeface="Calibri" panose="020F0502020204030204"/>
            </a:endParaRPr>
          </a:p>
        </p:txBody>
      </p:sp>
      <p:sp>
        <p:nvSpPr>
          <p:cNvPr id="6" name="Notizenplatzhalter 5">
            <a:extLst>
              <a:ext uri="{FF2B5EF4-FFF2-40B4-BE49-F238E27FC236}">
                <a16:creationId xmlns:a16="http://schemas.microsoft.com/office/drawing/2014/main" id="{60380D66-6E73-952C-539D-7949B08A7FB4}"/>
              </a:ext>
            </a:extLst>
          </p:cNvPr>
          <p:cNvSpPr>
            <a:spLocks noGrp="1"/>
          </p:cNvSpPr>
          <p:nvPr>
            <p:ph type="body" sz="quarter" idx="3"/>
          </p:nvPr>
        </p:nvSpPr>
        <p:spPr>
          <a:xfrm>
            <a:off x="685800" y="5084763"/>
            <a:ext cx="5486400" cy="3600450"/>
          </a:xfrm>
        </p:spPr>
        <p:txBody>
          <a:bodyPr/>
          <a:lstStyle/>
          <a:p>
            <a:endParaRPr lang="en-US" dirty="0"/>
          </a:p>
        </p:txBody>
      </p:sp>
    </p:spTree>
    <p:extLst>
      <p:ext uri="{BB962C8B-B14F-4D97-AF65-F5344CB8AC3E}">
        <p14:creationId xmlns:p14="http://schemas.microsoft.com/office/powerpoint/2010/main" val="20657700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fld id="{52029F81-569E-4D23-B409-5FE1121EF00E}" type="slidenum">
              <a:rPr lang="de-DE" smtClean="0"/>
              <a:t>6</a:t>
            </a:fld>
            <a:endParaRPr lang="de-DE"/>
          </a:p>
        </p:txBody>
      </p:sp>
      <p:sp>
        <p:nvSpPr>
          <p:cNvPr id="7" name="Notizenplatzhalter 6">
            <a:extLst>
              <a:ext uri="{FF2B5EF4-FFF2-40B4-BE49-F238E27FC236}">
                <a16:creationId xmlns:a16="http://schemas.microsoft.com/office/drawing/2014/main" id="{C88423CE-A158-A8E4-5C88-55E04A1410EF}"/>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82091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52029F81-569E-4D23-B409-5FE1121EF00E}" type="slidenum">
              <a:rPr lang="de-DE" smtClean="0"/>
              <a:t>7</a:t>
            </a:fld>
            <a:endParaRPr lang="de-DE"/>
          </a:p>
        </p:txBody>
      </p:sp>
    </p:spTree>
    <p:extLst>
      <p:ext uri="{BB962C8B-B14F-4D97-AF65-F5344CB8AC3E}">
        <p14:creationId xmlns:p14="http://schemas.microsoft.com/office/powerpoint/2010/main" val="4319526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fld id="{52029F81-569E-4D23-B409-5FE1121EF00E}" type="slidenum">
              <a:rPr lang="de-DE" smtClean="0"/>
              <a:t>8</a:t>
            </a:fld>
            <a:endParaRPr lang="de-DE"/>
          </a:p>
        </p:txBody>
      </p:sp>
      <p:sp>
        <p:nvSpPr>
          <p:cNvPr id="9" name="Notizenplatzhalter 8">
            <a:extLst>
              <a:ext uri="{FF2B5EF4-FFF2-40B4-BE49-F238E27FC236}">
                <a16:creationId xmlns:a16="http://schemas.microsoft.com/office/drawing/2014/main" id="{2A5E59F9-9B2D-2B04-311A-07C2A125C0D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47046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2029F81-569E-4D23-B409-5FE1121EF00E}" type="slidenum">
              <a:rPr lang="de-DE" smtClean="0"/>
              <a:t>9</a:t>
            </a:fld>
            <a:endParaRPr lang="de-DE"/>
          </a:p>
        </p:txBody>
      </p:sp>
    </p:spTree>
    <p:extLst>
      <p:ext uri="{BB962C8B-B14F-4D97-AF65-F5344CB8AC3E}">
        <p14:creationId xmlns:p14="http://schemas.microsoft.com/office/powerpoint/2010/main" val="23846086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82C3729B-3661-46CF-A012-4BF2292FA4DA}"/>
              </a:ext>
            </a:extLst>
          </p:cNvPr>
          <p:cNvSpPr/>
          <p:nvPr userDrawn="1"/>
        </p:nvSpPr>
        <p:spPr>
          <a:xfrm>
            <a:off x="2194560" y="0"/>
            <a:ext cx="6957898" cy="5144400"/>
          </a:xfrm>
          <a:custGeom>
            <a:avLst/>
            <a:gdLst>
              <a:gd name="connsiteX0" fmla="*/ 0 w 6970542"/>
              <a:gd name="connsiteY0" fmla="*/ 21102 h 5190979"/>
              <a:gd name="connsiteX1" fmla="*/ 2750234 w 6970542"/>
              <a:gd name="connsiteY1" fmla="*/ 2757268 h 5190979"/>
              <a:gd name="connsiteX2" fmla="*/ 309489 w 6970542"/>
              <a:gd name="connsiteY2" fmla="*/ 5183945 h 5190979"/>
              <a:gd name="connsiteX3" fmla="*/ 3362179 w 6970542"/>
              <a:gd name="connsiteY3" fmla="*/ 5183945 h 5190979"/>
              <a:gd name="connsiteX4" fmla="*/ 4234376 w 6970542"/>
              <a:gd name="connsiteY4" fmla="*/ 4276579 h 5190979"/>
              <a:gd name="connsiteX5" fmla="*/ 5169877 w 6970542"/>
              <a:gd name="connsiteY5" fmla="*/ 5190979 h 5190979"/>
              <a:gd name="connsiteX6" fmla="*/ 6970542 w 6970542"/>
              <a:gd name="connsiteY6" fmla="*/ 5190979 h 5190979"/>
              <a:gd name="connsiteX7" fmla="*/ 6970542 w 6970542"/>
              <a:gd name="connsiteY7" fmla="*/ 3953022 h 5190979"/>
              <a:gd name="connsiteX8" fmla="*/ 5788856 w 6970542"/>
              <a:gd name="connsiteY8" fmla="*/ 2771336 h 5190979"/>
              <a:gd name="connsiteX9" fmla="*/ 6963508 w 6970542"/>
              <a:gd name="connsiteY9" fmla="*/ 1554480 h 5190979"/>
              <a:gd name="connsiteX10" fmla="*/ 6963508 w 6970542"/>
              <a:gd name="connsiteY10" fmla="*/ 0 h 5190979"/>
              <a:gd name="connsiteX11" fmla="*/ 5472332 w 6970542"/>
              <a:gd name="connsiteY11" fmla="*/ 0 h 5190979"/>
              <a:gd name="connsiteX12" fmla="*/ 4255477 w 6970542"/>
              <a:gd name="connsiteY12" fmla="*/ 1237957 h 5190979"/>
              <a:gd name="connsiteX13" fmla="*/ 3052689 w 6970542"/>
              <a:gd name="connsiteY13" fmla="*/ 7034 h 5190979"/>
              <a:gd name="connsiteX14" fmla="*/ 0 w 6970542"/>
              <a:gd name="connsiteY14" fmla="*/ 21102 h 5190979"/>
              <a:gd name="connsiteX0" fmla="*/ 0 w 6963508"/>
              <a:gd name="connsiteY0" fmla="*/ 7034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7034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0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38130 w 6963508"/>
              <a:gd name="connsiteY5" fmla="*/ 5162146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62146"/>
              <a:gd name="connsiteX1" fmla="*/ 2743200 w 6963508"/>
              <a:gd name="connsiteY1" fmla="*/ 2757268 h 5162146"/>
              <a:gd name="connsiteX2" fmla="*/ 335406 w 6963508"/>
              <a:gd name="connsiteY2" fmla="*/ 5150993 h 5162146"/>
              <a:gd name="connsiteX3" fmla="*/ 3375739 w 6963508"/>
              <a:gd name="connsiteY3" fmla="*/ 5150993 h 5162146"/>
              <a:gd name="connsiteX4" fmla="*/ 4243818 w 6963508"/>
              <a:gd name="connsiteY4" fmla="*/ 4264222 h 5162146"/>
              <a:gd name="connsiteX5" fmla="*/ 5138130 w 6963508"/>
              <a:gd name="connsiteY5" fmla="*/ 5162146 h 5162146"/>
              <a:gd name="connsiteX6" fmla="*/ 6963508 w 6963508"/>
              <a:gd name="connsiteY6" fmla="*/ 5153908 h 5162146"/>
              <a:gd name="connsiteX7" fmla="*/ 6963508 w 6963508"/>
              <a:gd name="connsiteY7" fmla="*/ 3953022 h 5162146"/>
              <a:gd name="connsiteX8" fmla="*/ 5781822 w 6963508"/>
              <a:gd name="connsiteY8" fmla="*/ 2771336 h 5162146"/>
              <a:gd name="connsiteX9" fmla="*/ 6956474 w 6963508"/>
              <a:gd name="connsiteY9" fmla="*/ 1554480 h 5162146"/>
              <a:gd name="connsiteX10" fmla="*/ 6956474 w 6963508"/>
              <a:gd name="connsiteY10" fmla="*/ 0 h 5162146"/>
              <a:gd name="connsiteX11" fmla="*/ 5465298 w 6963508"/>
              <a:gd name="connsiteY11" fmla="*/ 0 h 5162146"/>
              <a:gd name="connsiteX12" fmla="*/ 4248443 w 6963508"/>
              <a:gd name="connsiteY12" fmla="*/ 1237957 h 5162146"/>
              <a:gd name="connsiteX13" fmla="*/ 3045655 w 6963508"/>
              <a:gd name="connsiteY13" fmla="*/ 0 h 5162146"/>
              <a:gd name="connsiteX14" fmla="*/ 0 w 6963508"/>
              <a:gd name="connsiteY14" fmla="*/ 0 h 5162146"/>
              <a:gd name="connsiteX0" fmla="*/ 0 w 6963508"/>
              <a:gd name="connsiteY0" fmla="*/ 0 h 5158027"/>
              <a:gd name="connsiteX1" fmla="*/ 2743200 w 6963508"/>
              <a:gd name="connsiteY1" fmla="*/ 2757268 h 5158027"/>
              <a:gd name="connsiteX2" fmla="*/ 335406 w 6963508"/>
              <a:gd name="connsiteY2" fmla="*/ 5150993 h 5158027"/>
              <a:gd name="connsiteX3" fmla="*/ 3375739 w 6963508"/>
              <a:gd name="connsiteY3" fmla="*/ 5150993 h 5158027"/>
              <a:gd name="connsiteX4" fmla="*/ 4243818 w 6963508"/>
              <a:gd name="connsiteY4" fmla="*/ 4264222 h 5158027"/>
              <a:gd name="connsiteX5" fmla="*/ 5146367 w 6963508"/>
              <a:gd name="connsiteY5" fmla="*/ 5158027 h 5158027"/>
              <a:gd name="connsiteX6" fmla="*/ 6963508 w 6963508"/>
              <a:gd name="connsiteY6" fmla="*/ 5153908 h 5158027"/>
              <a:gd name="connsiteX7" fmla="*/ 6963508 w 6963508"/>
              <a:gd name="connsiteY7" fmla="*/ 3953022 h 5158027"/>
              <a:gd name="connsiteX8" fmla="*/ 5781822 w 6963508"/>
              <a:gd name="connsiteY8" fmla="*/ 2771336 h 5158027"/>
              <a:gd name="connsiteX9" fmla="*/ 6956474 w 6963508"/>
              <a:gd name="connsiteY9" fmla="*/ 1554480 h 5158027"/>
              <a:gd name="connsiteX10" fmla="*/ 6956474 w 6963508"/>
              <a:gd name="connsiteY10" fmla="*/ 0 h 5158027"/>
              <a:gd name="connsiteX11" fmla="*/ 5465298 w 6963508"/>
              <a:gd name="connsiteY11" fmla="*/ 0 h 5158027"/>
              <a:gd name="connsiteX12" fmla="*/ 4248443 w 6963508"/>
              <a:gd name="connsiteY12" fmla="*/ 1237957 h 5158027"/>
              <a:gd name="connsiteX13" fmla="*/ 3045655 w 6963508"/>
              <a:gd name="connsiteY13" fmla="*/ 0 h 5158027"/>
              <a:gd name="connsiteX14" fmla="*/ 0 w 6963508"/>
              <a:gd name="connsiteY14" fmla="*/ 0 h 5158027"/>
              <a:gd name="connsiteX0" fmla="*/ 0 w 6963508"/>
              <a:gd name="connsiteY0" fmla="*/ 0 h 5153908"/>
              <a:gd name="connsiteX1" fmla="*/ 2743200 w 6963508"/>
              <a:gd name="connsiteY1" fmla="*/ 2757268 h 5153908"/>
              <a:gd name="connsiteX2" fmla="*/ 335406 w 6963508"/>
              <a:gd name="connsiteY2" fmla="*/ 5150993 h 5153908"/>
              <a:gd name="connsiteX3" fmla="*/ 3375739 w 6963508"/>
              <a:gd name="connsiteY3" fmla="*/ 5150993 h 5153908"/>
              <a:gd name="connsiteX4" fmla="*/ 4243818 w 6963508"/>
              <a:gd name="connsiteY4" fmla="*/ 4264222 h 5153908"/>
              <a:gd name="connsiteX5" fmla="*/ 5146367 w 6963508"/>
              <a:gd name="connsiteY5" fmla="*/ 5152417 h 5153908"/>
              <a:gd name="connsiteX6" fmla="*/ 6963508 w 6963508"/>
              <a:gd name="connsiteY6" fmla="*/ 5153908 h 5153908"/>
              <a:gd name="connsiteX7" fmla="*/ 6963508 w 6963508"/>
              <a:gd name="connsiteY7" fmla="*/ 3953022 h 5153908"/>
              <a:gd name="connsiteX8" fmla="*/ 5781822 w 6963508"/>
              <a:gd name="connsiteY8" fmla="*/ 2771336 h 5153908"/>
              <a:gd name="connsiteX9" fmla="*/ 6956474 w 6963508"/>
              <a:gd name="connsiteY9" fmla="*/ 1554480 h 5153908"/>
              <a:gd name="connsiteX10" fmla="*/ 6956474 w 6963508"/>
              <a:gd name="connsiteY10" fmla="*/ 0 h 5153908"/>
              <a:gd name="connsiteX11" fmla="*/ 5465298 w 6963508"/>
              <a:gd name="connsiteY11" fmla="*/ 0 h 5153908"/>
              <a:gd name="connsiteX12" fmla="*/ 4248443 w 6963508"/>
              <a:gd name="connsiteY12" fmla="*/ 1237957 h 5153908"/>
              <a:gd name="connsiteX13" fmla="*/ 3045655 w 6963508"/>
              <a:gd name="connsiteY13" fmla="*/ 0 h 5153908"/>
              <a:gd name="connsiteX14" fmla="*/ 0 w 6963508"/>
              <a:gd name="connsiteY14" fmla="*/ 0 h 5153908"/>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5493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0993"/>
              <a:gd name="connsiteX1" fmla="*/ 2743200 w 6963508"/>
              <a:gd name="connsiteY1" fmla="*/ 2757268 h 5150993"/>
              <a:gd name="connsiteX2" fmla="*/ 335406 w 6963508"/>
              <a:gd name="connsiteY2" fmla="*/ 5150993 h 5150993"/>
              <a:gd name="connsiteX3" fmla="*/ 3375739 w 6963508"/>
              <a:gd name="connsiteY3" fmla="*/ 5150993 h 5150993"/>
              <a:gd name="connsiteX4" fmla="*/ 4243818 w 6963508"/>
              <a:gd name="connsiteY4" fmla="*/ 4264222 h 5150993"/>
              <a:gd name="connsiteX5" fmla="*/ 5146367 w 6963508"/>
              <a:gd name="connsiteY5" fmla="*/ 5149612 h 5150993"/>
              <a:gd name="connsiteX6" fmla="*/ 6955093 w 6963508"/>
              <a:gd name="connsiteY6" fmla="*/ 5148298 h 5150993"/>
              <a:gd name="connsiteX7" fmla="*/ 6963508 w 6963508"/>
              <a:gd name="connsiteY7" fmla="*/ 3953022 h 5150993"/>
              <a:gd name="connsiteX8" fmla="*/ 5781822 w 6963508"/>
              <a:gd name="connsiteY8" fmla="*/ 2771336 h 5150993"/>
              <a:gd name="connsiteX9" fmla="*/ 6956474 w 6963508"/>
              <a:gd name="connsiteY9" fmla="*/ 1554480 h 5150993"/>
              <a:gd name="connsiteX10" fmla="*/ 6956474 w 6963508"/>
              <a:gd name="connsiteY10" fmla="*/ 0 h 5150993"/>
              <a:gd name="connsiteX11" fmla="*/ 5465298 w 6963508"/>
              <a:gd name="connsiteY11" fmla="*/ 0 h 5150993"/>
              <a:gd name="connsiteX12" fmla="*/ 4248443 w 6963508"/>
              <a:gd name="connsiteY12" fmla="*/ 1237957 h 5150993"/>
              <a:gd name="connsiteX13" fmla="*/ 3045655 w 6963508"/>
              <a:gd name="connsiteY13" fmla="*/ 0 h 5150993"/>
              <a:gd name="connsiteX14" fmla="*/ 0 w 696350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71336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5699 h 5150993"/>
              <a:gd name="connsiteX13" fmla="*/ 3045655 w 6957898"/>
              <a:gd name="connsiteY13" fmla="*/ 0 h 5150993"/>
              <a:gd name="connsiteX14" fmla="*/ 0 w 6957898"/>
              <a:gd name="connsiteY14" fmla="*/ 0 h 5150993"/>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414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088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7898" h="5153616">
                <a:moveTo>
                  <a:pt x="0" y="2623"/>
                </a:moveTo>
                <a:lnTo>
                  <a:pt x="2732897" y="2749575"/>
                </a:lnTo>
                <a:lnTo>
                  <a:pt x="335406" y="5153616"/>
                </a:lnTo>
                <a:lnTo>
                  <a:pt x="3375739" y="5153616"/>
                </a:lnTo>
                <a:lnTo>
                  <a:pt x="4246358" y="4269388"/>
                </a:lnTo>
                <a:lnTo>
                  <a:pt x="5130886" y="5152235"/>
                </a:lnTo>
                <a:lnTo>
                  <a:pt x="6955093" y="5150921"/>
                </a:lnTo>
                <a:lnTo>
                  <a:pt x="6957898" y="3939077"/>
                </a:lnTo>
                <a:lnTo>
                  <a:pt x="5781822" y="2743105"/>
                </a:lnTo>
                <a:lnTo>
                  <a:pt x="6956474" y="1557103"/>
                </a:lnTo>
                <a:lnTo>
                  <a:pt x="6956474" y="2623"/>
                </a:lnTo>
                <a:lnTo>
                  <a:pt x="5460057" y="0"/>
                </a:lnTo>
                <a:lnTo>
                  <a:pt x="4251604" y="1213236"/>
                </a:lnTo>
                <a:lnTo>
                  <a:pt x="3045655" y="2623"/>
                </a:lnTo>
                <a:lnTo>
                  <a:pt x="0" y="2623"/>
                </a:lnTo>
                <a:close/>
              </a:path>
            </a:pathLst>
          </a:custGeom>
          <a:solidFill>
            <a:srgbClr val="FFEF18"/>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800"/>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3214B8A0-D139-4C9E-A3E9-FFED6BBF00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Tree>
    <p:extLst>
      <p:ext uri="{BB962C8B-B14F-4D97-AF65-F5344CB8AC3E}">
        <p14:creationId xmlns:p14="http://schemas.microsoft.com/office/powerpoint/2010/main" val="2029306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3">
    <p:bg>
      <p:bgPr>
        <a:solidFill>
          <a:srgbClr val="FFEF18"/>
        </a:solidFill>
        <a:effectLst/>
      </p:bgPr>
    </p:bg>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99361B16-C549-44A3-8B87-DF43F742ABA5}"/>
              </a:ext>
            </a:extLst>
          </p:cNvPr>
          <p:cNvSpPr/>
          <p:nvPr userDrawn="1"/>
        </p:nvSpPr>
        <p:spPr>
          <a:xfrm>
            <a:off x="0" y="0"/>
            <a:ext cx="5919108" cy="4679170"/>
          </a:xfrm>
          <a:custGeom>
            <a:avLst/>
            <a:gdLst>
              <a:gd name="connsiteX0" fmla="*/ 0 w 5919108"/>
              <a:gd name="connsiteY0" fmla="*/ 0 h 4679170"/>
              <a:gd name="connsiteX1" fmla="*/ 5762375 w 5919108"/>
              <a:gd name="connsiteY1" fmla="*/ 0 h 4679170"/>
              <a:gd name="connsiteX2" fmla="*/ 5793344 w 5919108"/>
              <a:gd name="connsiteY2" fmla="*/ 97471 h 4679170"/>
              <a:gd name="connsiteX3" fmla="*/ 5919108 w 5919108"/>
              <a:gd name="connsiteY3" fmla="*/ 1048285 h 4679170"/>
              <a:gd name="connsiteX4" fmla="*/ 2288223 w 5919108"/>
              <a:gd name="connsiteY4" fmla="*/ 4679170 h 4679170"/>
              <a:gd name="connsiteX5" fmla="*/ 258161 w 5919108"/>
              <a:gd name="connsiteY5" fmla="*/ 4059072 h 4679170"/>
              <a:gd name="connsiteX6" fmla="*/ 0 w 5919108"/>
              <a:gd name="connsiteY6" fmla="*/ 3866023 h 467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9108" h="4679170">
                <a:moveTo>
                  <a:pt x="0" y="0"/>
                </a:moveTo>
                <a:lnTo>
                  <a:pt x="5762375" y="0"/>
                </a:lnTo>
                <a:lnTo>
                  <a:pt x="5793344" y="97471"/>
                </a:lnTo>
                <a:cubicBezTo>
                  <a:pt x="5875353" y="400521"/>
                  <a:pt x="5919108" y="719293"/>
                  <a:pt x="5919108" y="1048285"/>
                </a:cubicBezTo>
                <a:cubicBezTo>
                  <a:pt x="5919108" y="3053568"/>
                  <a:pt x="4293506" y="4679170"/>
                  <a:pt x="2288223" y="4679170"/>
                </a:cubicBezTo>
                <a:cubicBezTo>
                  <a:pt x="1536242" y="4679170"/>
                  <a:pt x="837654" y="4450570"/>
                  <a:pt x="258161" y="4059072"/>
                </a:cubicBezTo>
                <a:lnTo>
                  <a:pt x="0" y="3866023"/>
                </a:lnTo>
                <a:close/>
              </a:path>
            </a:pathLst>
          </a:custGeom>
          <a:solidFill>
            <a:srgbClr val="CED84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800"/>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3214B8A0-D139-4C9E-A3E9-FFED6BBF00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8" name="Bildplatzhalter 7">
            <a:extLst>
              <a:ext uri="{FF2B5EF4-FFF2-40B4-BE49-F238E27FC236}">
                <a16:creationId xmlns:a16="http://schemas.microsoft.com/office/drawing/2014/main" id="{76A42142-C49E-4CBD-8DB9-91B802FFBE64}"/>
              </a:ext>
            </a:extLst>
          </p:cNvPr>
          <p:cNvSpPr>
            <a:spLocks noGrp="1"/>
          </p:cNvSpPr>
          <p:nvPr>
            <p:ph type="pic" sz="quarter" idx="10"/>
          </p:nvPr>
        </p:nvSpPr>
        <p:spPr>
          <a:xfrm>
            <a:off x="5000399" y="687599"/>
            <a:ext cx="4143600" cy="2844000"/>
          </a:xfrm>
        </p:spPr>
        <p:txBody>
          <a:bodyPr/>
          <a:lstStyle/>
          <a:p>
            <a:r>
              <a:rPr lang="de-DE"/>
              <a:t>Bild durch Klicken auf Symbol hinzufügen</a:t>
            </a:r>
          </a:p>
        </p:txBody>
      </p:sp>
    </p:spTree>
    <p:extLst>
      <p:ext uri="{BB962C8B-B14F-4D97-AF65-F5344CB8AC3E}">
        <p14:creationId xmlns:p14="http://schemas.microsoft.com/office/powerpoint/2010/main" val="4029165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4">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BF1357E8-ECF9-4CBB-AA64-8F11A81E4689}"/>
              </a:ext>
            </a:extLst>
          </p:cNvPr>
          <p:cNvSpPr/>
          <p:nvPr userDrawn="1"/>
        </p:nvSpPr>
        <p:spPr>
          <a:xfrm>
            <a:off x="3676852" y="2844000"/>
            <a:ext cx="4935265" cy="2299500"/>
          </a:xfrm>
          <a:custGeom>
            <a:avLst/>
            <a:gdLst>
              <a:gd name="connsiteX0" fmla="*/ 2467632 w 4935265"/>
              <a:gd name="connsiteY0" fmla="*/ 0 h 2299500"/>
              <a:gd name="connsiteX1" fmla="*/ 4931420 w 4935265"/>
              <a:gd name="connsiteY1" fmla="*/ 2223359 h 2299500"/>
              <a:gd name="connsiteX2" fmla="*/ 4935265 w 4935265"/>
              <a:gd name="connsiteY2" fmla="*/ 2299500 h 2299500"/>
              <a:gd name="connsiteX3" fmla="*/ 0 w 4935265"/>
              <a:gd name="connsiteY3" fmla="*/ 2299500 h 2299500"/>
              <a:gd name="connsiteX4" fmla="*/ 3844 w 4935265"/>
              <a:gd name="connsiteY4" fmla="*/ 2223359 h 2299500"/>
              <a:gd name="connsiteX5" fmla="*/ 2467632 w 4935265"/>
              <a:gd name="connsiteY5" fmla="*/ 0 h 229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5265" h="2299500">
                <a:moveTo>
                  <a:pt x="2467632" y="0"/>
                </a:moveTo>
                <a:cubicBezTo>
                  <a:pt x="3749920" y="0"/>
                  <a:pt x="4804594" y="974531"/>
                  <a:pt x="4931420" y="2223359"/>
                </a:cubicBezTo>
                <a:lnTo>
                  <a:pt x="4935265" y="2299500"/>
                </a:lnTo>
                <a:lnTo>
                  <a:pt x="0" y="2299500"/>
                </a:lnTo>
                <a:lnTo>
                  <a:pt x="3844" y="2223359"/>
                </a:lnTo>
                <a:cubicBezTo>
                  <a:pt x="130670" y="974531"/>
                  <a:pt x="1185344" y="0"/>
                  <a:pt x="2467632" y="0"/>
                </a:cubicBezTo>
                <a:close/>
              </a:path>
            </a:pathLst>
          </a:custGeom>
          <a:solidFill>
            <a:srgbClr val="C9E8F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800"/>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3214B8A0-D139-4C9E-A3E9-FFED6BBF00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8" name="Bildplatzhalter 7">
            <a:extLst>
              <a:ext uri="{FF2B5EF4-FFF2-40B4-BE49-F238E27FC236}">
                <a16:creationId xmlns:a16="http://schemas.microsoft.com/office/drawing/2014/main" id="{76A42142-C49E-4CBD-8DB9-91B802FFBE64}"/>
              </a:ext>
            </a:extLst>
          </p:cNvPr>
          <p:cNvSpPr>
            <a:spLocks noGrp="1"/>
          </p:cNvSpPr>
          <p:nvPr>
            <p:ph type="pic" sz="quarter" idx="10"/>
          </p:nvPr>
        </p:nvSpPr>
        <p:spPr>
          <a:xfrm>
            <a:off x="0" y="0"/>
            <a:ext cx="9144000" cy="2570400"/>
          </a:xfrm>
        </p:spPr>
        <p:txBody>
          <a:bodyPr/>
          <a:lstStyle/>
          <a:p>
            <a:r>
              <a:rPr lang="de-DE"/>
              <a:t>Bild durch Klicken auf Symbol hinzufügen</a:t>
            </a:r>
          </a:p>
        </p:txBody>
      </p:sp>
    </p:spTree>
    <p:extLst>
      <p:ext uri="{BB962C8B-B14F-4D97-AF65-F5344CB8AC3E}">
        <p14:creationId xmlns:p14="http://schemas.microsoft.com/office/powerpoint/2010/main" val="2708841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marL="0" indent="0">
              <a:lnSpc>
                <a:spcPts val="2400"/>
              </a:lnSpc>
              <a:buNone/>
              <a:defRPr sz="2000"/>
            </a:lvl1pPr>
            <a:lvl2pPr marL="287998" indent="-287998">
              <a:lnSpc>
                <a:spcPts val="2400"/>
              </a:lnSpc>
              <a:defRPr sz="2000"/>
            </a:lvl2pPr>
            <a:lvl3pPr marL="287998" indent="0">
              <a:lnSpc>
                <a:spcPts val="2400"/>
              </a:lnSpc>
              <a:buNone/>
              <a:defRPr sz="2000"/>
            </a:lvl3pPr>
            <a:lvl4pPr marL="575996" indent="-287998">
              <a:lnSpc>
                <a:spcPts val="2400"/>
              </a:lnSpc>
              <a:defRPr sz="2000"/>
            </a:lvl4pPr>
            <a:lvl5pPr marL="575996" indent="0">
              <a:lnSpc>
                <a:spcPts val="2400"/>
              </a:lnSpc>
              <a:buNone/>
              <a:defRPr sz="2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980725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5181298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marL="0" indent="0">
              <a:buNone/>
              <a:defRPr/>
            </a:lvl1pPr>
            <a:lvl2pPr marL="287998" indent="-287998">
              <a:defRPr/>
            </a:lvl2pPr>
            <a:lvl3pPr marL="287998" indent="0">
              <a:buNone/>
              <a:defRPr/>
            </a:lvl3pPr>
            <a:lvl4pPr marL="575996" indent="-287998">
              <a:defRPr/>
            </a:lvl4pPr>
            <a:lvl5pPr marL="575996" indent="0">
              <a:buNone/>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2121205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658800" y="856800"/>
            <a:ext cx="3762000" cy="372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723200" y="856800"/>
            <a:ext cx="3762000" cy="372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1817779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658800" y="856800"/>
            <a:ext cx="2476800" cy="372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3333600" y="856800"/>
            <a:ext cx="2476800" cy="372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2B28B3E2-BA40-4815-B230-D28A7A80ABF0}" type="slidenum">
              <a:rPr lang="de-DE" smtClean="0"/>
              <a:t>‹Nr.›</a:t>
            </a:fld>
            <a:endParaRPr lang="de-DE"/>
          </a:p>
        </p:txBody>
      </p:sp>
      <p:sp>
        <p:nvSpPr>
          <p:cNvPr id="8" name="Inhaltsplatzhalter 7">
            <a:extLst>
              <a:ext uri="{FF2B5EF4-FFF2-40B4-BE49-F238E27FC236}">
                <a16:creationId xmlns:a16="http://schemas.microsoft.com/office/drawing/2014/main" id="{A1208DCF-C9B5-4A04-8083-0C0F42841FA5}"/>
              </a:ext>
            </a:extLst>
          </p:cNvPr>
          <p:cNvSpPr>
            <a:spLocks noGrp="1"/>
          </p:cNvSpPr>
          <p:nvPr>
            <p:ph sz="quarter" idx="13"/>
          </p:nvPr>
        </p:nvSpPr>
        <p:spPr>
          <a:xfrm>
            <a:off x="6008400" y="857250"/>
            <a:ext cx="2476800" cy="37258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40261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0599062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07855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Übergangsfolie 1">
    <p:bg>
      <p:bgPr>
        <a:solidFill>
          <a:srgbClr val="FFFFFF"/>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23E4F1F-42E4-4E9F-8F2A-DADEE404C6D1}"/>
              </a:ext>
            </a:extLst>
          </p:cNvPr>
          <p:cNvSpPr/>
          <p:nvPr userDrawn="1"/>
        </p:nvSpPr>
        <p:spPr>
          <a:xfrm>
            <a:off x="1908000" y="1717200"/>
            <a:ext cx="7236000" cy="2761200"/>
          </a:xfrm>
          <a:prstGeom prst="rect">
            <a:avLst/>
          </a:prstGeom>
          <a:solidFill>
            <a:srgbClr val="C9E8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658800" y="1792800"/>
            <a:ext cx="7207200" cy="900000"/>
          </a:xfrm>
        </p:spPr>
        <p:txBody>
          <a:bodyPr anchor="b"/>
          <a:lstStyle>
            <a:lvl1pPr>
              <a:lnSpc>
                <a:spcPts val="2600"/>
              </a:lnSpc>
              <a:defRPr sz="2300">
                <a:solidFill>
                  <a:srgbClr val="013C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976445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2">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82C3729B-3661-46CF-A012-4BF2292FA4DA}"/>
              </a:ext>
            </a:extLst>
          </p:cNvPr>
          <p:cNvSpPr/>
          <p:nvPr userDrawn="1"/>
        </p:nvSpPr>
        <p:spPr>
          <a:xfrm>
            <a:off x="2194560" y="0"/>
            <a:ext cx="6957898" cy="5144400"/>
          </a:xfrm>
          <a:custGeom>
            <a:avLst/>
            <a:gdLst>
              <a:gd name="connsiteX0" fmla="*/ 0 w 6970542"/>
              <a:gd name="connsiteY0" fmla="*/ 21102 h 5190979"/>
              <a:gd name="connsiteX1" fmla="*/ 2750234 w 6970542"/>
              <a:gd name="connsiteY1" fmla="*/ 2757268 h 5190979"/>
              <a:gd name="connsiteX2" fmla="*/ 309489 w 6970542"/>
              <a:gd name="connsiteY2" fmla="*/ 5183945 h 5190979"/>
              <a:gd name="connsiteX3" fmla="*/ 3362179 w 6970542"/>
              <a:gd name="connsiteY3" fmla="*/ 5183945 h 5190979"/>
              <a:gd name="connsiteX4" fmla="*/ 4234376 w 6970542"/>
              <a:gd name="connsiteY4" fmla="*/ 4276579 h 5190979"/>
              <a:gd name="connsiteX5" fmla="*/ 5169877 w 6970542"/>
              <a:gd name="connsiteY5" fmla="*/ 5190979 h 5190979"/>
              <a:gd name="connsiteX6" fmla="*/ 6970542 w 6970542"/>
              <a:gd name="connsiteY6" fmla="*/ 5190979 h 5190979"/>
              <a:gd name="connsiteX7" fmla="*/ 6970542 w 6970542"/>
              <a:gd name="connsiteY7" fmla="*/ 3953022 h 5190979"/>
              <a:gd name="connsiteX8" fmla="*/ 5788856 w 6970542"/>
              <a:gd name="connsiteY8" fmla="*/ 2771336 h 5190979"/>
              <a:gd name="connsiteX9" fmla="*/ 6963508 w 6970542"/>
              <a:gd name="connsiteY9" fmla="*/ 1554480 h 5190979"/>
              <a:gd name="connsiteX10" fmla="*/ 6963508 w 6970542"/>
              <a:gd name="connsiteY10" fmla="*/ 0 h 5190979"/>
              <a:gd name="connsiteX11" fmla="*/ 5472332 w 6970542"/>
              <a:gd name="connsiteY11" fmla="*/ 0 h 5190979"/>
              <a:gd name="connsiteX12" fmla="*/ 4255477 w 6970542"/>
              <a:gd name="connsiteY12" fmla="*/ 1237957 h 5190979"/>
              <a:gd name="connsiteX13" fmla="*/ 3052689 w 6970542"/>
              <a:gd name="connsiteY13" fmla="*/ 7034 h 5190979"/>
              <a:gd name="connsiteX14" fmla="*/ 0 w 6970542"/>
              <a:gd name="connsiteY14" fmla="*/ 21102 h 5190979"/>
              <a:gd name="connsiteX0" fmla="*/ 0 w 6963508"/>
              <a:gd name="connsiteY0" fmla="*/ 7034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7034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0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38130 w 6963508"/>
              <a:gd name="connsiteY5" fmla="*/ 5162146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62146"/>
              <a:gd name="connsiteX1" fmla="*/ 2743200 w 6963508"/>
              <a:gd name="connsiteY1" fmla="*/ 2757268 h 5162146"/>
              <a:gd name="connsiteX2" fmla="*/ 335406 w 6963508"/>
              <a:gd name="connsiteY2" fmla="*/ 5150993 h 5162146"/>
              <a:gd name="connsiteX3" fmla="*/ 3375739 w 6963508"/>
              <a:gd name="connsiteY3" fmla="*/ 5150993 h 5162146"/>
              <a:gd name="connsiteX4" fmla="*/ 4243818 w 6963508"/>
              <a:gd name="connsiteY4" fmla="*/ 4264222 h 5162146"/>
              <a:gd name="connsiteX5" fmla="*/ 5138130 w 6963508"/>
              <a:gd name="connsiteY5" fmla="*/ 5162146 h 5162146"/>
              <a:gd name="connsiteX6" fmla="*/ 6963508 w 6963508"/>
              <a:gd name="connsiteY6" fmla="*/ 5153908 h 5162146"/>
              <a:gd name="connsiteX7" fmla="*/ 6963508 w 6963508"/>
              <a:gd name="connsiteY7" fmla="*/ 3953022 h 5162146"/>
              <a:gd name="connsiteX8" fmla="*/ 5781822 w 6963508"/>
              <a:gd name="connsiteY8" fmla="*/ 2771336 h 5162146"/>
              <a:gd name="connsiteX9" fmla="*/ 6956474 w 6963508"/>
              <a:gd name="connsiteY9" fmla="*/ 1554480 h 5162146"/>
              <a:gd name="connsiteX10" fmla="*/ 6956474 w 6963508"/>
              <a:gd name="connsiteY10" fmla="*/ 0 h 5162146"/>
              <a:gd name="connsiteX11" fmla="*/ 5465298 w 6963508"/>
              <a:gd name="connsiteY11" fmla="*/ 0 h 5162146"/>
              <a:gd name="connsiteX12" fmla="*/ 4248443 w 6963508"/>
              <a:gd name="connsiteY12" fmla="*/ 1237957 h 5162146"/>
              <a:gd name="connsiteX13" fmla="*/ 3045655 w 6963508"/>
              <a:gd name="connsiteY13" fmla="*/ 0 h 5162146"/>
              <a:gd name="connsiteX14" fmla="*/ 0 w 6963508"/>
              <a:gd name="connsiteY14" fmla="*/ 0 h 5162146"/>
              <a:gd name="connsiteX0" fmla="*/ 0 w 6963508"/>
              <a:gd name="connsiteY0" fmla="*/ 0 h 5158027"/>
              <a:gd name="connsiteX1" fmla="*/ 2743200 w 6963508"/>
              <a:gd name="connsiteY1" fmla="*/ 2757268 h 5158027"/>
              <a:gd name="connsiteX2" fmla="*/ 335406 w 6963508"/>
              <a:gd name="connsiteY2" fmla="*/ 5150993 h 5158027"/>
              <a:gd name="connsiteX3" fmla="*/ 3375739 w 6963508"/>
              <a:gd name="connsiteY3" fmla="*/ 5150993 h 5158027"/>
              <a:gd name="connsiteX4" fmla="*/ 4243818 w 6963508"/>
              <a:gd name="connsiteY4" fmla="*/ 4264222 h 5158027"/>
              <a:gd name="connsiteX5" fmla="*/ 5146367 w 6963508"/>
              <a:gd name="connsiteY5" fmla="*/ 5158027 h 5158027"/>
              <a:gd name="connsiteX6" fmla="*/ 6963508 w 6963508"/>
              <a:gd name="connsiteY6" fmla="*/ 5153908 h 5158027"/>
              <a:gd name="connsiteX7" fmla="*/ 6963508 w 6963508"/>
              <a:gd name="connsiteY7" fmla="*/ 3953022 h 5158027"/>
              <a:gd name="connsiteX8" fmla="*/ 5781822 w 6963508"/>
              <a:gd name="connsiteY8" fmla="*/ 2771336 h 5158027"/>
              <a:gd name="connsiteX9" fmla="*/ 6956474 w 6963508"/>
              <a:gd name="connsiteY9" fmla="*/ 1554480 h 5158027"/>
              <a:gd name="connsiteX10" fmla="*/ 6956474 w 6963508"/>
              <a:gd name="connsiteY10" fmla="*/ 0 h 5158027"/>
              <a:gd name="connsiteX11" fmla="*/ 5465298 w 6963508"/>
              <a:gd name="connsiteY11" fmla="*/ 0 h 5158027"/>
              <a:gd name="connsiteX12" fmla="*/ 4248443 w 6963508"/>
              <a:gd name="connsiteY12" fmla="*/ 1237957 h 5158027"/>
              <a:gd name="connsiteX13" fmla="*/ 3045655 w 6963508"/>
              <a:gd name="connsiteY13" fmla="*/ 0 h 5158027"/>
              <a:gd name="connsiteX14" fmla="*/ 0 w 6963508"/>
              <a:gd name="connsiteY14" fmla="*/ 0 h 5158027"/>
              <a:gd name="connsiteX0" fmla="*/ 0 w 6963508"/>
              <a:gd name="connsiteY0" fmla="*/ 0 h 5153908"/>
              <a:gd name="connsiteX1" fmla="*/ 2743200 w 6963508"/>
              <a:gd name="connsiteY1" fmla="*/ 2757268 h 5153908"/>
              <a:gd name="connsiteX2" fmla="*/ 335406 w 6963508"/>
              <a:gd name="connsiteY2" fmla="*/ 5150993 h 5153908"/>
              <a:gd name="connsiteX3" fmla="*/ 3375739 w 6963508"/>
              <a:gd name="connsiteY3" fmla="*/ 5150993 h 5153908"/>
              <a:gd name="connsiteX4" fmla="*/ 4243818 w 6963508"/>
              <a:gd name="connsiteY4" fmla="*/ 4264222 h 5153908"/>
              <a:gd name="connsiteX5" fmla="*/ 5146367 w 6963508"/>
              <a:gd name="connsiteY5" fmla="*/ 5152417 h 5153908"/>
              <a:gd name="connsiteX6" fmla="*/ 6963508 w 6963508"/>
              <a:gd name="connsiteY6" fmla="*/ 5153908 h 5153908"/>
              <a:gd name="connsiteX7" fmla="*/ 6963508 w 6963508"/>
              <a:gd name="connsiteY7" fmla="*/ 3953022 h 5153908"/>
              <a:gd name="connsiteX8" fmla="*/ 5781822 w 6963508"/>
              <a:gd name="connsiteY8" fmla="*/ 2771336 h 5153908"/>
              <a:gd name="connsiteX9" fmla="*/ 6956474 w 6963508"/>
              <a:gd name="connsiteY9" fmla="*/ 1554480 h 5153908"/>
              <a:gd name="connsiteX10" fmla="*/ 6956474 w 6963508"/>
              <a:gd name="connsiteY10" fmla="*/ 0 h 5153908"/>
              <a:gd name="connsiteX11" fmla="*/ 5465298 w 6963508"/>
              <a:gd name="connsiteY11" fmla="*/ 0 h 5153908"/>
              <a:gd name="connsiteX12" fmla="*/ 4248443 w 6963508"/>
              <a:gd name="connsiteY12" fmla="*/ 1237957 h 5153908"/>
              <a:gd name="connsiteX13" fmla="*/ 3045655 w 6963508"/>
              <a:gd name="connsiteY13" fmla="*/ 0 h 5153908"/>
              <a:gd name="connsiteX14" fmla="*/ 0 w 6963508"/>
              <a:gd name="connsiteY14" fmla="*/ 0 h 5153908"/>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5493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0993"/>
              <a:gd name="connsiteX1" fmla="*/ 2743200 w 6963508"/>
              <a:gd name="connsiteY1" fmla="*/ 2757268 h 5150993"/>
              <a:gd name="connsiteX2" fmla="*/ 335406 w 6963508"/>
              <a:gd name="connsiteY2" fmla="*/ 5150993 h 5150993"/>
              <a:gd name="connsiteX3" fmla="*/ 3375739 w 6963508"/>
              <a:gd name="connsiteY3" fmla="*/ 5150993 h 5150993"/>
              <a:gd name="connsiteX4" fmla="*/ 4243818 w 6963508"/>
              <a:gd name="connsiteY4" fmla="*/ 4264222 h 5150993"/>
              <a:gd name="connsiteX5" fmla="*/ 5146367 w 6963508"/>
              <a:gd name="connsiteY5" fmla="*/ 5149612 h 5150993"/>
              <a:gd name="connsiteX6" fmla="*/ 6955093 w 6963508"/>
              <a:gd name="connsiteY6" fmla="*/ 5148298 h 5150993"/>
              <a:gd name="connsiteX7" fmla="*/ 6963508 w 6963508"/>
              <a:gd name="connsiteY7" fmla="*/ 3953022 h 5150993"/>
              <a:gd name="connsiteX8" fmla="*/ 5781822 w 6963508"/>
              <a:gd name="connsiteY8" fmla="*/ 2771336 h 5150993"/>
              <a:gd name="connsiteX9" fmla="*/ 6956474 w 6963508"/>
              <a:gd name="connsiteY9" fmla="*/ 1554480 h 5150993"/>
              <a:gd name="connsiteX10" fmla="*/ 6956474 w 6963508"/>
              <a:gd name="connsiteY10" fmla="*/ 0 h 5150993"/>
              <a:gd name="connsiteX11" fmla="*/ 5465298 w 6963508"/>
              <a:gd name="connsiteY11" fmla="*/ 0 h 5150993"/>
              <a:gd name="connsiteX12" fmla="*/ 4248443 w 6963508"/>
              <a:gd name="connsiteY12" fmla="*/ 1237957 h 5150993"/>
              <a:gd name="connsiteX13" fmla="*/ 3045655 w 6963508"/>
              <a:gd name="connsiteY13" fmla="*/ 0 h 5150993"/>
              <a:gd name="connsiteX14" fmla="*/ 0 w 696350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71336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5699 h 5150993"/>
              <a:gd name="connsiteX13" fmla="*/ 3045655 w 6957898"/>
              <a:gd name="connsiteY13" fmla="*/ 0 h 5150993"/>
              <a:gd name="connsiteX14" fmla="*/ 0 w 6957898"/>
              <a:gd name="connsiteY14" fmla="*/ 0 h 5150993"/>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414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088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7898" h="5153616">
                <a:moveTo>
                  <a:pt x="0" y="2623"/>
                </a:moveTo>
                <a:lnTo>
                  <a:pt x="2732897" y="2749575"/>
                </a:lnTo>
                <a:lnTo>
                  <a:pt x="335406" y="5153616"/>
                </a:lnTo>
                <a:lnTo>
                  <a:pt x="3375739" y="5153616"/>
                </a:lnTo>
                <a:lnTo>
                  <a:pt x="4246358" y="4269388"/>
                </a:lnTo>
                <a:lnTo>
                  <a:pt x="5130886" y="5152235"/>
                </a:lnTo>
                <a:lnTo>
                  <a:pt x="6955093" y="5150921"/>
                </a:lnTo>
                <a:lnTo>
                  <a:pt x="6957898" y="3939077"/>
                </a:lnTo>
                <a:lnTo>
                  <a:pt x="5781822" y="2743105"/>
                </a:lnTo>
                <a:lnTo>
                  <a:pt x="6956474" y="1557103"/>
                </a:lnTo>
                <a:lnTo>
                  <a:pt x="6956474" y="2623"/>
                </a:lnTo>
                <a:lnTo>
                  <a:pt x="5460057" y="0"/>
                </a:lnTo>
                <a:lnTo>
                  <a:pt x="4251604" y="1213236"/>
                </a:lnTo>
                <a:lnTo>
                  <a:pt x="3045655" y="2623"/>
                </a:lnTo>
                <a:lnTo>
                  <a:pt x="0" y="2623"/>
                </a:lnTo>
                <a:close/>
              </a:path>
            </a:pathLst>
          </a:custGeom>
          <a:solidFill>
            <a:srgbClr val="C9E8FB"/>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800"/>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3214B8A0-D139-4C9E-A3E9-FFED6BBF00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Tree>
    <p:extLst>
      <p:ext uri="{BB962C8B-B14F-4D97-AF65-F5344CB8AC3E}">
        <p14:creationId xmlns:p14="http://schemas.microsoft.com/office/powerpoint/2010/main" val="8792871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Übergangsfolie 2">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5A632B5C-E552-4E4E-96C3-513938BCDDD6}"/>
              </a:ext>
            </a:extLst>
          </p:cNvPr>
          <p:cNvSpPr/>
          <p:nvPr userDrawn="1"/>
        </p:nvSpPr>
        <p:spPr>
          <a:xfrm>
            <a:off x="3422649" y="0"/>
            <a:ext cx="5721351" cy="4665969"/>
          </a:xfrm>
          <a:custGeom>
            <a:avLst/>
            <a:gdLst>
              <a:gd name="connsiteX0" fmla="*/ 269640 w 5721351"/>
              <a:gd name="connsiteY0" fmla="*/ 0 h 4665969"/>
              <a:gd name="connsiteX1" fmla="*/ 5721351 w 5721351"/>
              <a:gd name="connsiteY1" fmla="*/ 0 h 4665969"/>
              <a:gd name="connsiteX2" fmla="*/ 5721351 w 5721351"/>
              <a:gd name="connsiteY2" fmla="*/ 3680370 h 4665969"/>
              <a:gd name="connsiteX3" fmla="*/ 5717075 w 5721351"/>
              <a:gd name="connsiteY3" fmla="*/ 3685075 h 4665969"/>
              <a:gd name="connsiteX4" fmla="*/ 3521324 w 5721351"/>
              <a:gd name="connsiteY4" fmla="*/ 4661613 h 4665969"/>
              <a:gd name="connsiteX5" fmla="*/ 3349025 w 5721351"/>
              <a:gd name="connsiteY5" fmla="*/ 4665969 h 4665969"/>
              <a:gd name="connsiteX6" fmla="*/ 3348946 w 5721351"/>
              <a:gd name="connsiteY6" fmla="*/ 4665969 h 4665969"/>
              <a:gd name="connsiteX7" fmla="*/ 3176647 w 5721351"/>
              <a:gd name="connsiteY7" fmla="*/ 4661613 h 4665969"/>
              <a:gd name="connsiteX8" fmla="*/ 0 w 5721351"/>
              <a:gd name="connsiteY8" fmla="*/ 1316985 h 4665969"/>
              <a:gd name="connsiteX9" fmla="*/ 263180 w 5721351"/>
              <a:gd name="connsiteY9" fmla="*/ 13409 h 466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21351" h="4665969">
                <a:moveTo>
                  <a:pt x="269640" y="0"/>
                </a:moveTo>
                <a:lnTo>
                  <a:pt x="5721351" y="0"/>
                </a:lnTo>
                <a:lnTo>
                  <a:pt x="5721351" y="3680370"/>
                </a:lnTo>
                <a:lnTo>
                  <a:pt x="5717075" y="3685075"/>
                </a:lnTo>
                <a:cubicBezTo>
                  <a:pt x="5148906" y="4253244"/>
                  <a:pt x="4377534" y="4618211"/>
                  <a:pt x="3521324" y="4661613"/>
                </a:cubicBezTo>
                <a:lnTo>
                  <a:pt x="3349025" y="4665969"/>
                </a:lnTo>
                <a:lnTo>
                  <a:pt x="3348946" y="4665969"/>
                </a:lnTo>
                <a:lnTo>
                  <a:pt x="3176647" y="4661613"/>
                </a:lnTo>
                <a:cubicBezTo>
                  <a:pt x="1407145" y="4571916"/>
                  <a:pt x="0" y="3108778"/>
                  <a:pt x="0" y="1316985"/>
                </a:cubicBezTo>
                <a:cubicBezTo>
                  <a:pt x="0" y="854587"/>
                  <a:pt x="93712" y="414076"/>
                  <a:pt x="263180" y="13409"/>
                </a:cubicBezTo>
                <a:close/>
              </a:path>
            </a:pathLst>
          </a:custGeom>
          <a:solidFill>
            <a:srgbClr val="CED84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 name="Title 1"/>
          <p:cNvSpPr>
            <a:spLocks noGrp="1"/>
          </p:cNvSpPr>
          <p:nvPr>
            <p:ph type="title"/>
          </p:nvPr>
        </p:nvSpPr>
        <p:spPr>
          <a:xfrm>
            <a:off x="658800" y="3200400"/>
            <a:ext cx="7207200" cy="900000"/>
          </a:xfrm>
        </p:spPr>
        <p:txBody>
          <a:bodyPr anchor="b"/>
          <a:lstStyle>
            <a:lvl1pPr>
              <a:lnSpc>
                <a:spcPts val="2600"/>
              </a:lnSpc>
              <a:defRPr sz="23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1425610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Übergangsfolie 3">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0E4EAC3-38B7-4C0A-A98B-42FAAF25D5AD}"/>
              </a:ext>
            </a:extLst>
          </p:cNvPr>
          <p:cNvSpPr>
            <a:spLocks/>
          </p:cNvSpPr>
          <p:nvPr userDrawn="1"/>
        </p:nvSpPr>
        <p:spPr>
          <a:xfrm>
            <a:off x="397815" y="0"/>
            <a:ext cx="5400000" cy="4490096"/>
          </a:xfrm>
          <a:custGeom>
            <a:avLst/>
            <a:gdLst>
              <a:gd name="connsiteX0" fmla="*/ 682573 w 5400000"/>
              <a:gd name="connsiteY0" fmla="*/ 0 h 4490096"/>
              <a:gd name="connsiteX1" fmla="*/ 4717427 w 5400000"/>
              <a:gd name="connsiteY1" fmla="*/ 0 h 4490096"/>
              <a:gd name="connsiteX2" fmla="*/ 4783452 w 5400000"/>
              <a:gd name="connsiteY2" fmla="*/ 72645 h 4490096"/>
              <a:gd name="connsiteX3" fmla="*/ 5400000 w 5400000"/>
              <a:gd name="connsiteY3" fmla="*/ 1790096 h 4490096"/>
              <a:gd name="connsiteX4" fmla="*/ 2700000 w 5400000"/>
              <a:gd name="connsiteY4" fmla="*/ 4490096 h 4490096"/>
              <a:gd name="connsiteX5" fmla="*/ 0 w 5400000"/>
              <a:gd name="connsiteY5" fmla="*/ 1790096 h 4490096"/>
              <a:gd name="connsiteX6" fmla="*/ 616549 w 5400000"/>
              <a:gd name="connsiteY6" fmla="*/ 72645 h 449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0000" h="4490096">
                <a:moveTo>
                  <a:pt x="682573" y="0"/>
                </a:moveTo>
                <a:lnTo>
                  <a:pt x="4717427" y="0"/>
                </a:lnTo>
                <a:lnTo>
                  <a:pt x="4783452" y="72645"/>
                </a:lnTo>
                <a:cubicBezTo>
                  <a:pt x="5168622" y="539364"/>
                  <a:pt x="5400000" y="1137710"/>
                  <a:pt x="5400000" y="1790096"/>
                </a:cubicBezTo>
                <a:cubicBezTo>
                  <a:pt x="5400000" y="3281265"/>
                  <a:pt x="4191169" y="4490096"/>
                  <a:pt x="2700000" y="4490096"/>
                </a:cubicBezTo>
                <a:cubicBezTo>
                  <a:pt x="1208831" y="4490096"/>
                  <a:pt x="0" y="3281265"/>
                  <a:pt x="0" y="1790096"/>
                </a:cubicBezTo>
                <a:cubicBezTo>
                  <a:pt x="0" y="1137710"/>
                  <a:pt x="231378" y="539364"/>
                  <a:pt x="616549" y="72645"/>
                </a:cubicBezTo>
                <a:close/>
              </a:path>
            </a:pathLst>
          </a:custGeom>
          <a:solidFill>
            <a:srgbClr val="FFEF1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chemeClr val="bg1">
                  <a:lumMod val="75000"/>
                </a:schemeClr>
              </a:solidFill>
            </a:endParaRPr>
          </a:p>
        </p:txBody>
      </p:sp>
      <p:sp>
        <p:nvSpPr>
          <p:cNvPr id="2" name="Title 1"/>
          <p:cNvSpPr>
            <a:spLocks noGrp="1"/>
          </p:cNvSpPr>
          <p:nvPr>
            <p:ph type="title"/>
          </p:nvPr>
        </p:nvSpPr>
        <p:spPr>
          <a:xfrm>
            <a:off x="658800" y="2692800"/>
            <a:ext cx="7207200" cy="900000"/>
          </a:xfrm>
        </p:spPr>
        <p:txBody>
          <a:bodyPr anchor="b"/>
          <a:lstStyle>
            <a:lvl1pPr>
              <a:lnSpc>
                <a:spcPts val="2600"/>
              </a:lnSpc>
              <a:defRPr sz="23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24435151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Übergangsfolie 4">
    <p:bg>
      <p:bgPr>
        <a:solidFill>
          <a:srgbClr val="76C7C9"/>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A90A6055-1A78-4416-B4FA-A5AECF02A2E7}"/>
              </a:ext>
            </a:extLst>
          </p:cNvPr>
          <p:cNvSpPr/>
          <p:nvPr userDrawn="1"/>
        </p:nvSpPr>
        <p:spPr>
          <a:xfrm>
            <a:off x="0" y="0"/>
            <a:ext cx="7692401" cy="5143500"/>
          </a:xfrm>
          <a:custGeom>
            <a:avLst/>
            <a:gdLst>
              <a:gd name="connsiteX0" fmla="*/ 0 w 7692401"/>
              <a:gd name="connsiteY0" fmla="*/ 0 h 5143500"/>
              <a:gd name="connsiteX1" fmla="*/ 2056070 w 7692401"/>
              <a:gd name="connsiteY1" fmla="*/ 0 h 5143500"/>
              <a:gd name="connsiteX2" fmla="*/ 3023199 w 7692401"/>
              <a:gd name="connsiteY2" fmla="*/ 964606 h 5143500"/>
              <a:gd name="connsiteX3" fmla="*/ 3992756 w 7692401"/>
              <a:gd name="connsiteY3" fmla="*/ 0 h 5143500"/>
              <a:gd name="connsiteX4" fmla="*/ 7692401 w 7692401"/>
              <a:gd name="connsiteY4" fmla="*/ 0 h 5143500"/>
              <a:gd name="connsiteX5" fmla="*/ 4875529 w 7692401"/>
              <a:gd name="connsiteY5" fmla="*/ 2827095 h 5143500"/>
              <a:gd name="connsiteX6" fmla="*/ 7190586 w 7692401"/>
              <a:gd name="connsiteY6" fmla="*/ 5143500 h 5143500"/>
              <a:gd name="connsiteX7" fmla="*/ 3487916 w 7692401"/>
              <a:gd name="connsiteY7" fmla="*/ 5143500 h 5143500"/>
              <a:gd name="connsiteX8" fmla="*/ 3023493 w 7692401"/>
              <a:gd name="connsiteY8" fmla="*/ 4676969 h 5143500"/>
              <a:gd name="connsiteX9" fmla="*/ 2559905 w 7692401"/>
              <a:gd name="connsiteY9" fmla="*/ 5143500 h 5143500"/>
              <a:gd name="connsiteX10" fmla="*/ 0 w 7692401"/>
              <a:gd name="connsiteY10" fmla="*/ 5143500 h 5143500"/>
              <a:gd name="connsiteX11" fmla="*/ 0 w 7692401"/>
              <a:gd name="connsiteY11" fmla="*/ 3995289 h 5143500"/>
              <a:gd name="connsiteX12" fmla="*/ 1174664 w 7692401"/>
              <a:gd name="connsiteY12" fmla="*/ 2823751 h 5143500"/>
              <a:gd name="connsiteX13" fmla="*/ 0 w 7692401"/>
              <a:gd name="connsiteY13" fmla="*/ 165235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92401" h="5143500">
                <a:moveTo>
                  <a:pt x="0" y="0"/>
                </a:moveTo>
                <a:lnTo>
                  <a:pt x="2056070" y="0"/>
                </a:lnTo>
                <a:lnTo>
                  <a:pt x="3023199" y="964606"/>
                </a:lnTo>
                <a:lnTo>
                  <a:pt x="3992756" y="0"/>
                </a:lnTo>
                <a:lnTo>
                  <a:pt x="7692401" y="0"/>
                </a:lnTo>
                <a:lnTo>
                  <a:pt x="4875529" y="2827095"/>
                </a:lnTo>
                <a:lnTo>
                  <a:pt x="7190586" y="5143500"/>
                </a:lnTo>
                <a:lnTo>
                  <a:pt x="3487916" y="5143500"/>
                </a:lnTo>
                <a:lnTo>
                  <a:pt x="3023493" y="4676969"/>
                </a:lnTo>
                <a:lnTo>
                  <a:pt x="2559905" y="5143500"/>
                </a:lnTo>
                <a:lnTo>
                  <a:pt x="0" y="5143500"/>
                </a:lnTo>
                <a:lnTo>
                  <a:pt x="0" y="3995289"/>
                </a:lnTo>
                <a:lnTo>
                  <a:pt x="1174664" y="2823751"/>
                </a:lnTo>
                <a:lnTo>
                  <a:pt x="0" y="1652355"/>
                </a:lnTo>
                <a:close/>
              </a:path>
            </a:pathLst>
          </a:custGeom>
          <a:solidFill>
            <a:srgbClr val="D2EA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658800" y="3564000"/>
            <a:ext cx="7207200" cy="900000"/>
          </a:xfrm>
        </p:spPr>
        <p:txBody>
          <a:bodyPr anchor="b"/>
          <a:lstStyle>
            <a:lvl1pPr>
              <a:lnSpc>
                <a:spcPts val="2600"/>
              </a:lnSpc>
              <a:defRPr sz="2300">
                <a:solidFill>
                  <a:srgbClr val="013C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26820243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1">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0E4EAC3-38B7-4C0A-A98B-42FAAF25D5AD}"/>
              </a:ext>
            </a:extLst>
          </p:cNvPr>
          <p:cNvSpPr>
            <a:spLocks/>
          </p:cNvSpPr>
          <p:nvPr userDrawn="1"/>
        </p:nvSpPr>
        <p:spPr>
          <a:xfrm>
            <a:off x="397815" y="0"/>
            <a:ext cx="5400000" cy="4490096"/>
          </a:xfrm>
          <a:custGeom>
            <a:avLst/>
            <a:gdLst>
              <a:gd name="connsiteX0" fmla="*/ 682573 w 5400000"/>
              <a:gd name="connsiteY0" fmla="*/ 0 h 4490096"/>
              <a:gd name="connsiteX1" fmla="*/ 4717427 w 5400000"/>
              <a:gd name="connsiteY1" fmla="*/ 0 h 4490096"/>
              <a:gd name="connsiteX2" fmla="*/ 4783452 w 5400000"/>
              <a:gd name="connsiteY2" fmla="*/ 72645 h 4490096"/>
              <a:gd name="connsiteX3" fmla="*/ 5400000 w 5400000"/>
              <a:gd name="connsiteY3" fmla="*/ 1790096 h 4490096"/>
              <a:gd name="connsiteX4" fmla="*/ 2700000 w 5400000"/>
              <a:gd name="connsiteY4" fmla="*/ 4490096 h 4490096"/>
              <a:gd name="connsiteX5" fmla="*/ 0 w 5400000"/>
              <a:gd name="connsiteY5" fmla="*/ 1790096 h 4490096"/>
              <a:gd name="connsiteX6" fmla="*/ 616549 w 5400000"/>
              <a:gd name="connsiteY6" fmla="*/ 72645 h 449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0000" h="4490096">
                <a:moveTo>
                  <a:pt x="682573" y="0"/>
                </a:moveTo>
                <a:lnTo>
                  <a:pt x="4717427" y="0"/>
                </a:lnTo>
                <a:lnTo>
                  <a:pt x="4783452" y="72645"/>
                </a:lnTo>
                <a:cubicBezTo>
                  <a:pt x="5168622" y="539364"/>
                  <a:pt x="5400000" y="1137710"/>
                  <a:pt x="5400000" y="1790096"/>
                </a:cubicBezTo>
                <a:cubicBezTo>
                  <a:pt x="5400000" y="3281265"/>
                  <a:pt x="4191169" y="4490096"/>
                  <a:pt x="2700000" y="4490096"/>
                </a:cubicBezTo>
                <a:cubicBezTo>
                  <a:pt x="1208831" y="4490096"/>
                  <a:pt x="0" y="3281265"/>
                  <a:pt x="0" y="1790096"/>
                </a:cubicBezTo>
                <a:cubicBezTo>
                  <a:pt x="0" y="1137710"/>
                  <a:pt x="231378" y="539364"/>
                  <a:pt x="616549" y="72645"/>
                </a:cubicBezTo>
                <a:close/>
              </a:path>
            </a:pathLst>
          </a:custGeom>
          <a:solidFill>
            <a:srgbClr val="FFEF1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chemeClr val="bg1">
                  <a:lumMod val="75000"/>
                </a:schemeClr>
              </a:solidFill>
            </a:endParaRPr>
          </a:p>
        </p:txBody>
      </p:sp>
      <p:sp>
        <p:nvSpPr>
          <p:cNvPr id="2" name="Title 1"/>
          <p:cNvSpPr>
            <a:spLocks noGrp="1"/>
          </p:cNvSpPr>
          <p:nvPr>
            <p:ph type="title"/>
          </p:nvPr>
        </p:nvSpPr>
        <p:spPr>
          <a:xfrm>
            <a:off x="399600" y="2692800"/>
            <a:ext cx="8348400" cy="900000"/>
          </a:xfrm>
        </p:spPr>
        <p:txBody>
          <a:bodyPr anchor="b"/>
          <a:lstStyle>
            <a:lvl1pPr>
              <a:lnSpc>
                <a:spcPct val="85000"/>
              </a:lnSpc>
              <a:defRPr sz="50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7315964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eltrenner 2">
    <p:bg>
      <p:bgPr>
        <a:solidFill>
          <a:srgbClr val="76C7C9"/>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E42FAED3-62C2-4CF0-88AB-6C2078885D43}"/>
              </a:ext>
            </a:extLst>
          </p:cNvPr>
          <p:cNvSpPr/>
          <p:nvPr userDrawn="1"/>
        </p:nvSpPr>
        <p:spPr>
          <a:xfrm>
            <a:off x="-230" y="-220"/>
            <a:ext cx="6300395" cy="5148000"/>
          </a:xfrm>
          <a:custGeom>
            <a:avLst/>
            <a:gdLst>
              <a:gd name="connsiteX0" fmla="*/ 0 w 6295293"/>
              <a:gd name="connsiteY0" fmla="*/ 0 h 5169877"/>
              <a:gd name="connsiteX1" fmla="*/ 0 w 6295293"/>
              <a:gd name="connsiteY1" fmla="*/ 1610751 h 5169877"/>
              <a:gd name="connsiteX2" fmla="*/ 921434 w 6295293"/>
              <a:gd name="connsiteY2" fmla="*/ 2525151 h 5169877"/>
              <a:gd name="connsiteX3" fmla="*/ 7034 w 6295293"/>
              <a:gd name="connsiteY3" fmla="*/ 3425484 h 5169877"/>
              <a:gd name="connsiteX4" fmla="*/ 7034 w 6295293"/>
              <a:gd name="connsiteY4" fmla="*/ 5169877 h 5169877"/>
              <a:gd name="connsiteX5" fmla="*/ 1026942 w 6295293"/>
              <a:gd name="connsiteY5" fmla="*/ 5169877 h 5169877"/>
              <a:gd name="connsiteX6" fmla="*/ 2293034 w 6295293"/>
              <a:gd name="connsiteY6" fmla="*/ 3889717 h 5169877"/>
              <a:gd name="connsiteX7" fmla="*/ 3566160 w 6295293"/>
              <a:gd name="connsiteY7" fmla="*/ 5169877 h 5169877"/>
              <a:gd name="connsiteX8" fmla="*/ 6295293 w 6295293"/>
              <a:gd name="connsiteY8" fmla="*/ 5169877 h 5169877"/>
              <a:gd name="connsiteX9" fmla="*/ 3664634 w 6295293"/>
              <a:gd name="connsiteY9" fmla="*/ 2518117 h 5169877"/>
              <a:gd name="connsiteX10" fmla="*/ 6147582 w 6295293"/>
              <a:gd name="connsiteY10" fmla="*/ 14068 h 5169877"/>
              <a:gd name="connsiteX11" fmla="*/ 3425483 w 6295293"/>
              <a:gd name="connsiteY11" fmla="*/ 14068 h 5169877"/>
              <a:gd name="connsiteX12" fmla="*/ 2307102 w 6295293"/>
              <a:gd name="connsiteY12" fmla="*/ 1139484 h 5169877"/>
              <a:gd name="connsiteX13" fmla="*/ 1160585 w 6295293"/>
              <a:gd name="connsiteY13" fmla="*/ 14068 h 5169877"/>
              <a:gd name="connsiteX14" fmla="*/ 0 w 6295293"/>
              <a:gd name="connsiteY14" fmla="*/ 0 h 5169877"/>
              <a:gd name="connsiteX0" fmla="*/ 9525 w 6295293"/>
              <a:gd name="connsiteY0" fmla="*/ 4982 h 5155809"/>
              <a:gd name="connsiteX1" fmla="*/ 0 w 6295293"/>
              <a:gd name="connsiteY1" fmla="*/ 1596683 h 5155809"/>
              <a:gd name="connsiteX2" fmla="*/ 921434 w 6295293"/>
              <a:gd name="connsiteY2" fmla="*/ 2511083 h 5155809"/>
              <a:gd name="connsiteX3" fmla="*/ 7034 w 6295293"/>
              <a:gd name="connsiteY3" fmla="*/ 3411416 h 5155809"/>
              <a:gd name="connsiteX4" fmla="*/ 7034 w 6295293"/>
              <a:gd name="connsiteY4" fmla="*/ 5155809 h 5155809"/>
              <a:gd name="connsiteX5" fmla="*/ 1026942 w 6295293"/>
              <a:gd name="connsiteY5" fmla="*/ 5155809 h 5155809"/>
              <a:gd name="connsiteX6" fmla="*/ 2293034 w 6295293"/>
              <a:gd name="connsiteY6" fmla="*/ 3875649 h 5155809"/>
              <a:gd name="connsiteX7" fmla="*/ 3566160 w 6295293"/>
              <a:gd name="connsiteY7" fmla="*/ 5155809 h 5155809"/>
              <a:gd name="connsiteX8" fmla="*/ 6295293 w 6295293"/>
              <a:gd name="connsiteY8" fmla="*/ 5155809 h 5155809"/>
              <a:gd name="connsiteX9" fmla="*/ 3664634 w 6295293"/>
              <a:gd name="connsiteY9" fmla="*/ 2504049 h 5155809"/>
              <a:gd name="connsiteX10" fmla="*/ 6147582 w 6295293"/>
              <a:gd name="connsiteY10" fmla="*/ 0 h 5155809"/>
              <a:gd name="connsiteX11" fmla="*/ 3425483 w 6295293"/>
              <a:gd name="connsiteY11" fmla="*/ 0 h 5155809"/>
              <a:gd name="connsiteX12" fmla="*/ 2307102 w 6295293"/>
              <a:gd name="connsiteY12" fmla="*/ 1125416 h 5155809"/>
              <a:gd name="connsiteX13" fmla="*/ 1160585 w 6295293"/>
              <a:gd name="connsiteY13" fmla="*/ 0 h 5155809"/>
              <a:gd name="connsiteX14" fmla="*/ 9525 w 6295293"/>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53551 w 6288259"/>
              <a:gd name="connsiteY13" fmla="*/ 0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2381 w 6288259"/>
              <a:gd name="connsiteY3" fmla="*/ 3420941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27051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1982 w 6288259"/>
              <a:gd name="connsiteY7" fmla="*/ 5153427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7600 w 6285878"/>
              <a:gd name="connsiteY9" fmla="*/ 2504049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2601 h 5155809"/>
              <a:gd name="connsiteX1" fmla="*/ 4873 w 6285878"/>
              <a:gd name="connsiteY1" fmla="*/ 1601446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7255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06542 w 6285878"/>
              <a:gd name="connsiteY11" fmla="*/ 0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0 h 5157971"/>
              <a:gd name="connsiteX1" fmla="*/ 2492 w 6285878"/>
              <a:gd name="connsiteY1" fmla="*/ 1601227 h 5157971"/>
              <a:gd name="connsiteX2" fmla="*/ 914400 w 6285878"/>
              <a:gd name="connsiteY2" fmla="*/ 2510864 h 5157971"/>
              <a:gd name="connsiteX3" fmla="*/ 2381 w 6285878"/>
              <a:gd name="connsiteY3" fmla="*/ 3420722 h 5157971"/>
              <a:gd name="connsiteX4" fmla="*/ 0 w 6285878"/>
              <a:gd name="connsiteY4" fmla="*/ 5155590 h 5157971"/>
              <a:gd name="connsiteX5" fmla="*/ 1019908 w 6285878"/>
              <a:gd name="connsiteY5" fmla="*/ 5157971 h 5157971"/>
              <a:gd name="connsiteX6" fmla="*/ 2288381 w 6285878"/>
              <a:gd name="connsiteY6" fmla="*/ 3884955 h 5157971"/>
              <a:gd name="connsiteX7" fmla="*/ 3551982 w 6285878"/>
              <a:gd name="connsiteY7" fmla="*/ 5153208 h 5157971"/>
              <a:gd name="connsiteX8" fmla="*/ 6285878 w 6285878"/>
              <a:gd name="connsiteY8" fmla="*/ 5150827 h 5157971"/>
              <a:gd name="connsiteX9" fmla="*/ 3659982 w 6285878"/>
              <a:gd name="connsiteY9" fmla="*/ 2510974 h 5157971"/>
              <a:gd name="connsiteX10" fmla="*/ 6152455 w 6285878"/>
              <a:gd name="connsiteY10" fmla="*/ 2162 h 5157971"/>
              <a:gd name="connsiteX11" fmla="*/ 3406542 w 6285878"/>
              <a:gd name="connsiteY11" fmla="*/ 2162 h 5157971"/>
              <a:gd name="connsiteX12" fmla="*/ 2283400 w 6285878"/>
              <a:gd name="connsiteY12" fmla="*/ 1127578 h 5157971"/>
              <a:gd name="connsiteX13" fmla="*/ 1160695 w 6285878"/>
              <a:gd name="connsiteY13" fmla="*/ 2162 h 5157971"/>
              <a:gd name="connsiteX14" fmla="*/ 2491 w 6285878"/>
              <a:gd name="connsiteY14" fmla="*/ 0 h 5157971"/>
              <a:gd name="connsiteX0" fmla="*/ 2491 w 6285878"/>
              <a:gd name="connsiteY0" fmla="*/ 219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2491 w 6285878"/>
              <a:gd name="connsiteY14" fmla="*/ 219 h 5158190"/>
              <a:gd name="connsiteX0" fmla="*/ 110 w 6285878"/>
              <a:gd name="connsiteY0" fmla="*/ 2600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600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8923 w 6285878"/>
              <a:gd name="connsiteY11" fmla="*/ 0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20 h 5158191"/>
              <a:gd name="connsiteX1" fmla="*/ 111 w 6285878"/>
              <a:gd name="connsiteY1" fmla="*/ 1599065 h 5158191"/>
              <a:gd name="connsiteX2" fmla="*/ 914400 w 6285878"/>
              <a:gd name="connsiteY2" fmla="*/ 2511084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16179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5175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9951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204"/>
              <a:gd name="connsiteX1" fmla="*/ 341 w 6286108"/>
              <a:gd name="connsiteY1" fmla="*/ 1599065 h 5158204"/>
              <a:gd name="connsiteX2" fmla="*/ 909868 w 6286108"/>
              <a:gd name="connsiteY2" fmla="*/ 2508702 h 5158204"/>
              <a:gd name="connsiteX3" fmla="*/ 229 w 6286108"/>
              <a:gd name="connsiteY3" fmla="*/ 3418560 h 5158204"/>
              <a:gd name="connsiteX4" fmla="*/ 230 w 6286108"/>
              <a:gd name="connsiteY4" fmla="*/ 5155810 h 5158204"/>
              <a:gd name="connsiteX5" fmla="*/ 1020138 w 6286108"/>
              <a:gd name="connsiteY5" fmla="*/ 5158191 h 5158204"/>
              <a:gd name="connsiteX6" fmla="*/ 2288611 w 6286108"/>
              <a:gd name="connsiteY6" fmla="*/ 3889951 h 5158204"/>
              <a:gd name="connsiteX7" fmla="*/ 3547449 w 6286108"/>
              <a:gd name="connsiteY7" fmla="*/ 5158204 h 5158204"/>
              <a:gd name="connsiteX8" fmla="*/ 6286108 w 6286108"/>
              <a:gd name="connsiteY8" fmla="*/ 5151047 h 5158204"/>
              <a:gd name="connsiteX9" fmla="*/ 3660212 w 6286108"/>
              <a:gd name="connsiteY9" fmla="*/ 2511194 h 5158204"/>
              <a:gd name="connsiteX10" fmla="*/ 6155066 w 6286108"/>
              <a:gd name="connsiteY10" fmla="*/ 0 h 5158204"/>
              <a:gd name="connsiteX11" fmla="*/ 3409153 w 6286108"/>
              <a:gd name="connsiteY11" fmla="*/ 1 h 5158204"/>
              <a:gd name="connsiteX12" fmla="*/ 2283630 w 6286108"/>
              <a:gd name="connsiteY12" fmla="*/ 1123035 h 5158204"/>
              <a:gd name="connsiteX13" fmla="*/ 1160925 w 6286108"/>
              <a:gd name="connsiteY13" fmla="*/ 1 h 5158204"/>
              <a:gd name="connsiteX14" fmla="*/ 340 w 6286108"/>
              <a:gd name="connsiteY14" fmla="*/ 220 h 5158204"/>
              <a:gd name="connsiteX0" fmla="*/ 340 w 6293252"/>
              <a:gd name="connsiteY0" fmla="*/ 220 h 5158204"/>
              <a:gd name="connsiteX1" fmla="*/ 341 w 6293252"/>
              <a:gd name="connsiteY1" fmla="*/ 1599065 h 5158204"/>
              <a:gd name="connsiteX2" fmla="*/ 909868 w 6293252"/>
              <a:gd name="connsiteY2" fmla="*/ 2508702 h 5158204"/>
              <a:gd name="connsiteX3" fmla="*/ 229 w 6293252"/>
              <a:gd name="connsiteY3" fmla="*/ 3418560 h 5158204"/>
              <a:gd name="connsiteX4" fmla="*/ 230 w 6293252"/>
              <a:gd name="connsiteY4" fmla="*/ 5155810 h 5158204"/>
              <a:gd name="connsiteX5" fmla="*/ 1020138 w 6293252"/>
              <a:gd name="connsiteY5" fmla="*/ 5158191 h 5158204"/>
              <a:gd name="connsiteX6" fmla="*/ 2288611 w 6293252"/>
              <a:gd name="connsiteY6" fmla="*/ 3889951 h 5158204"/>
              <a:gd name="connsiteX7" fmla="*/ 3547449 w 6293252"/>
              <a:gd name="connsiteY7" fmla="*/ 5158204 h 5158204"/>
              <a:gd name="connsiteX8" fmla="*/ 6293252 w 6293252"/>
              <a:gd name="connsiteY8" fmla="*/ 5153434 h 5158204"/>
              <a:gd name="connsiteX9" fmla="*/ 3660212 w 6293252"/>
              <a:gd name="connsiteY9" fmla="*/ 2511194 h 5158204"/>
              <a:gd name="connsiteX10" fmla="*/ 6155066 w 6293252"/>
              <a:gd name="connsiteY10" fmla="*/ 0 h 5158204"/>
              <a:gd name="connsiteX11" fmla="*/ 3409153 w 6293252"/>
              <a:gd name="connsiteY11" fmla="*/ 1 h 5158204"/>
              <a:gd name="connsiteX12" fmla="*/ 2283630 w 6293252"/>
              <a:gd name="connsiteY12" fmla="*/ 1123035 h 5158204"/>
              <a:gd name="connsiteX13" fmla="*/ 1160925 w 6293252"/>
              <a:gd name="connsiteY13" fmla="*/ 1 h 5158204"/>
              <a:gd name="connsiteX14" fmla="*/ 340 w 6293252"/>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8611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3848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60591"/>
              <a:gd name="connsiteX1" fmla="*/ 341 w 6298014"/>
              <a:gd name="connsiteY1" fmla="*/ 1599065 h 5160591"/>
              <a:gd name="connsiteX2" fmla="*/ 909868 w 6298014"/>
              <a:gd name="connsiteY2" fmla="*/ 2508702 h 5160591"/>
              <a:gd name="connsiteX3" fmla="*/ 229 w 6298014"/>
              <a:gd name="connsiteY3" fmla="*/ 3418560 h 5160591"/>
              <a:gd name="connsiteX4" fmla="*/ 230 w 6298014"/>
              <a:gd name="connsiteY4" fmla="*/ 5155810 h 5160591"/>
              <a:gd name="connsiteX5" fmla="*/ 1020138 w 6298014"/>
              <a:gd name="connsiteY5" fmla="*/ 5158191 h 5160591"/>
              <a:gd name="connsiteX6" fmla="*/ 2283848 w 6298014"/>
              <a:gd name="connsiteY6" fmla="*/ 3889951 h 5160591"/>
              <a:gd name="connsiteX7" fmla="*/ 3547449 w 6298014"/>
              <a:gd name="connsiteY7" fmla="*/ 5160591 h 5160591"/>
              <a:gd name="connsiteX8" fmla="*/ 6298014 w 6298014"/>
              <a:gd name="connsiteY8" fmla="*/ 5155822 h 5160591"/>
              <a:gd name="connsiteX9" fmla="*/ 3660212 w 6298014"/>
              <a:gd name="connsiteY9" fmla="*/ 2511194 h 5160591"/>
              <a:gd name="connsiteX10" fmla="*/ 6155066 w 6298014"/>
              <a:gd name="connsiteY10" fmla="*/ 0 h 5160591"/>
              <a:gd name="connsiteX11" fmla="*/ 3409153 w 6298014"/>
              <a:gd name="connsiteY11" fmla="*/ 1 h 5160591"/>
              <a:gd name="connsiteX12" fmla="*/ 2283630 w 6298014"/>
              <a:gd name="connsiteY12" fmla="*/ 1123035 h 5160591"/>
              <a:gd name="connsiteX13" fmla="*/ 1160925 w 6298014"/>
              <a:gd name="connsiteY13" fmla="*/ 1 h 5160591"/>
              <a:gd name="connsiteX14" fmla="*/ 340 w 6298014"/>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1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2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601"/>
              <a:gd name="connsiteX1" fmla="*/ 341 w 6300395"/>
              <a:gd name="connsiteY1" fmla="*/ 1599065 h 5160601"/>
              <a:gd name="connsiteX2" fmla="*/ 909868 w 6300395"/>
              <a:gd name="connsiteY2" fmla="*/ 2508702 h 5160601"/>
              <a:gd name="connsiteX3" fmla="*/ 229 w 6300395"/>
              <a:gd name="connsiteY3" fmla="*/ 3418560 h 5160601"/>
              <a:gd name="connsiteX4" fmla="*/ 230 w 6300395"/>
              <a:gd name="connsiteY4" fmla="*/ 5155810 h 5160601"/>
              <a:gd name="connsiteX5" fmla="*/ 1020138 w 6300395"/>
              <a:gd name="connsiteY5" fmla="*/ 5158191 h 5160601"/>
              <a:gd name="connsiteX6" fmla="*/ 2283848 w 6300395"/>
              <a:gd name="connsiteY6" fmla="*/ 3889951 h 5160601"/>
              <a:gd name="connsiteX7" fmla="*/ 3547449 w 6300395"/>
              <a:gd name="connsiteY7" fmla="*/ 5160591 h 5160601"/>
              <a:gd name="connsiteX8" fmla="*/ 6300395 w 6300395"/>
              <a:gd name="connsiteY8" fmla="*/ 5160601 h 5160601"/>
              <a:gd name="connsiteX9" fmla="*/ 3660212 w 6300395"/>
              <a:gd name="connsiteY9" fmla="*/ 2511194 h 5160601"/>
              <a:gd name="connsiteX10" fmla="*/ 6155066 w 6300395"/>
              <a:gd name="connsiteY10" fmla="*/ 0 h 5160601"/>
              <a:gd name="connsiteX11" fmla="*/ 3409153 w 6300395"/>
              <a:gd name="connsiteY11" fmla="*/ 1 h 5160601"/>
              <a:gd name="connsiteX12" fmla="*/ 2283630 w 6300395"/>
              <a:gd name="connsiteY12" fmla="*/ 1123035 h 5160601"/>
              <a:gd name="connsiteX13" fmla="*/ 1160925 w 6300395"/>
              <a:gd name="connsiteY13" fmla="*/ 1 h 5160601"/>
              <a:gd name="connsiteX14" fmla="*/ 340 w 6300395"/>
              <a:gd name="connsiteY14" fmla="*/ 220 h 5160601"/>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5810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6058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00395" h="5162979">
                <a:moveTo>
                  <a:pt x="340" y="220"/>
                </a:moveTo>
                <a:cubicBezTo>
                  <a:pt x="340" y="532375"/>
                  <a:pt x="341" y="1066910"/>
                  <a:pt x="341" y="1599065"/>
                </a:cubicBezTo>
                <a:lnTo>
                  <a:pt x="909868" y="2508702"/>
                </a:lnTo>
                <a:lnTo>
                  <a:pt x="229" y="3418560"/>
                </a:lnTo>
                <a:cubicBezTo>
                  <a:pt x="-565" y="3996849"/>
                  <a:pt x="1024" y="4582300"/>
                  <a:pt x="230" y="5160589"/>
                </a:cubicBezTo>
                <a:lnTo>
                  <a:pt x="1024901" y="5160579"/>
                </a:lnTo>
                <a:lnTo>
                  <a:pt x="2283848" y="3889951"/>
                </a:lnTo>
                <a:lnTo>
                  <a:pt x="3547449" y="5162979"/>
                </a:lnTo>
                <a:lnTo>
                  <a:pt x="6300395" y="5160601"/>
                </a:lnTo>
                <a:lnTo>
                  <a:pt x="3660212" y="2511194"/>
                </a:lnTo>
                <a:lnTo>
                  <a:pt x="6155066" y="0"/>
                </a:lnTo>
                <a:lnTo>
                  <a:pt x="3409153" y="1"/>
                </a:lnTo>
                <a:lnTo>
                  <a:pt x="2283630" y="1123035"/>
                </a:lnTo>
                <a:lnTo>
                  <a:pt x="1160925" y="1"/>
                </a:lnTo>
                <a:lnTo>
                  <a:pt x="340" y="220"/>
                </a:lnTo>
                <a:close/>
              </a:path>
            </a:pathLst>
          </a:custGeom>
          <a:solidFill>
            <a:srgbClr val="D01D7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193200" y="2044800"/>
            <a:ext cx="5551200" cy="2419200"/>
          </a:xfrm>
        </p:spPr>
        <p:txBody>
          <a:bodyPr anchor="b"/>
          <a:lstStyle>
            <a:lvl1pPr>
              <a:lnSpc>
                <a:spcPct val="85000"/>
              </a:lnSpc>
              <a:defRPr sz="5000">
                <a:solidFill>
                  <a:srgbClr val="FFEF18"/>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806322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apiteltrenner 3">
    <p:bg>
      <p:bgPr>
        <a:solidFill>
          <a:srgbClr val="95BD34"/>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BC3AD6F7-64E5-4B04-8851-A20A20E5F707}"/>
              </a:ext>
            </a:extLst>
          </p:cNvPr>
          <p:cNvSpPr>
            <a:spLocks noChangeAspect="1"/>
          </p:cNvSpPr>
          <p:nvPr userDrawn="1"/>
        </p:nvSpPr>
        <p:spPr>
          <a:xfrm>
            <a:off x="2449429" y="1"/>
            <a:ext cx="6303600" cy="4806429"/>
          </a:xfrm>
          <a:custGeom>
            <a:avLst/>
            <a:gdLst>
              <a:gd name="connsiteX0" fmla="*/ 472926 w 6303600"/>
              <a:gd name="connsiteY0" fmla="*/ 0 h 4806429"/>
              <a:gd name="connsiteX1" fmla="*/ 1485022 w 6303600"/>
              <a:gd name="connsiteY1" fmla="*/ 0 h 4806429"/>
              <a:gd name="connsiteX2" fmla="*/ 1339198 w 6303600"/>
              <a:gd name="connsiteY2" fmla="*/ 160447 h 4806429"/>
              <a:gd name="connsiteX3" fmla="*/ 802800 w 6303600"/>
              <a:gd name="connsiteY3" fmla="*/ 1654629 h 4806429"/>
              <a:gd name="connsiteX4" fmla="*/ 3151800 w 6303600"/>
              <a:gd name="connsiteY4" fmla="*/ 4003629 h 4806429"/>
              <a:gd name="connsiteX5" fmla="*/ 5500800 w 6303600"/>
              <a:gd name="connsiteY5" fmla="*/ 1654629 h 4806429"/>
              <a:gd name="connsiteX6" fmla="*/ 4964403 w 6303600"/>
              <a:gd name="connsiteY6" fmla="*/ 160447 h 4806429"/>
              <a:gd name="connsiteX7" fmla="*/ 4818579 w 6303600"/>
              <a:gd name="connsiteY7" fmla="*/ 0 h 4806429"/>
              <a:gd name="connsiteX8" fmla="*/ 5830674 w 6303600"/>
              <a:gd name="connsiteY8" fmla="*/ 0 h 4806429"/>
              <a:gd name="connsiteX9" fmla="*/ 5923195 w 6303600"/>
              <a:gd name="connsiteY9" fmla="*/ 152294 h 4806429"/>
              <a:gd name="connsiteX10" fmla="*/ 6303600 w 6303600"/>
              <a:gd name="connsiteY10" fmla="*/ 1654629 h 4806429"/>
              <a:gd name="connsiteX11" fmla="*/ 3151800 w 6303600"/>
              <a:gd name="connsiteY11" fmla="*/ 4806429 h 4806429"/>
              <a:gd name="connsiteX12" fmla="*/ 0 w 6303600"/>
              <a:gd name="connsiteY12" fmla="*/ 1654629 h 4806429"/>
              <a:gd name="connsiteX13" fmla="*/ 380405 w 6303600"/>
              <a:gd name="connsiteY13" fmla="*/ 152294 h 480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3600" h="4806429">
                <a:moveTo>
                  <a:pt x="472926" y="0"/>
                </a:moveTo>
                <a:lnTo>
                  <a:pt x="1485022" y="0"/>
                </a:lnTo>
                <a:lnTo>
                  <a:pt x="1339198" y="160447"/>
                </a:lnTo>
                <a:cubicBezTo>
                  <a:pt x="1004099" y="566493"/>
                  <a:pt x="802800" y="1087053"/>
                  <a:pt x="802800" y="1654629"/>
                </a:cubicBezTo>
                <a:cubicBezTo>
                  <a:pt x="802800" y="2951946"/>
                  <a:pt x="1854483" y="4003629"/>
                  <a:pt x="3151800" y="4003629"/>
                </a:cubicBezTo>
                <a:cubicBezTo>
                  <a:pt x="4449117" y="4003629"/>
                  <a:pt x="5500800" y="2951946"/>
                  <a:pt x="5500800" y="1654629"/>
                </a:cubicBezTo>
                <a:cubicBezTo>
                  <a:pt x="5500800" y="1087053"/>
                  <a:pt x="5299502" y="566493"/>
                  <a:pt x="4964403" y="160447"/>
                </a:cubicBezTo>
                <a:lnTo>
                  <a:pt x="4818579" y="0"/>
                </a:lnTo>
                <a:lnTo>
                  <a:pt x="5830674" y="0"/>
                </a:lnTo>
                <a:lnTo>
                  <a:pt x="5923195" y="152294"/>
                </a:lnTo>
                <a:cubicBezTo>
                  <a:pt x="6165796" y="598883"/>
                  <a:pt x="6303600" y="1110663"/>
                  <a:pt x="6303600" y="1654629"/>
                </a:cubicBezTo>
                <a:cubicBezTo>
                  <a:pt x="6303600" y="3395320"/>
                  <a:pt x="4892491" y="4806429"/>
                  <a:pt x="3151800" y="4806429"/>
                </a:cubicBezTo>
                <a:cubicBezTo>
                  <a:pt x="1411109" y="4806429"/>
                  <a:pt x="0" y="3395320"/>
                  <a:pt x="0" y="1654629"/>
                </a:cubicBezTo>
                <a:cubicBezTo>
                  <a:pt x="0" y="1110663"/>
                  <a:pt x="137804" y="598883"/>
                  <a:pt x="380405" y="152294"/>
                </a:cubicBezTo>
                <a:close/>
              </a:path>
            </a:pathLst>
          </a:custGeom>
          <a:solidFill>
            <a:srgbClr val="CED84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2692800"/>
            <a:ext cx="8348400" cy="900000"/>
          </a:xfrm>
        </p:spPr>
        <p:txBody>
          <a:bodyPr anchor="b"/>
          <a:lstStyle>
            <a:lvl1pPr>
              <a:lnSpc>
                <a:spcPct val="85000"/>
              </a:lnSpc>
              <a:defRPr sz="50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8655598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eltrenner 4">
    <p:bg>
      <p:bgPr>
        <a:solidFill>
          <a:srgbClr val="E3558F"/>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4C48002-B6EF-4D14-BE89-D489B6E224C3}"/>
              </a:ext>
            </a:extLst>
          </p:cNvPr>
          <p:cNvSpPr>
            <a:spLocks noChangeAspect="1"/>
          </p:cNvSpPr>
          <p:nvPr userDrawn="1"/>
        </p:nvSpPr>
        <p:spPr>
          <a:xfrm>
            <a:off x="205610" y="554511"/>
            <a:ext cx="8938390" cy="4588990"/>
          </a:xfrm>
          <a:custGeom>
            <a:avLst/>
            <a:gdLst>
              <a:gd name="connsiteX0" fmla="*/ 7368715 w 8938390"/>
              <a:gd name="connsiteY0" fmla="*/ 0 h 4588990"/>
              <a:gd name="connsiteX1" fmla="*/ 8618986 w 8938390"/>
              <a:gd name="connsiteY1" fmla="*/ 94596 h 4588990"/>
              <a:gd name="connsiteX2" fmla="*/ 8938390 w 8938390"/>
              <a:gd name="connsiteY2" fmla="*/ 151635 h 4588990"/>
              <a:gd name="connsiteX3" fmla="*/ 8938390 w 8938390"/>
              <a:gd name="connsiteY3" fmla="*/ 2273306 h 4588990"/>
              <a:gd name="connsiteX4" fmla="*/ 8903146 w 8938390"/>
              <a:gd name="connsiteY4" fmla="*/ 2263298 h 4588990"/>
              <a:gd name="connsiteX5" fmla="*/ 7368715 w 8938390"/>
              <a:gd name="connsiteY5" fmla="*/ 2070000 h 4588990"/>
              <a:gd name="connsiteX6" fmla="*/ 2448675 w 8938390"/>
              <a:gd name="connsiteY6" fmla="*/ 4536261 h 4588990"/>
              <a:gd name="connsiteX7" fmla="*/ 2411179 w 8938390"/>
              <a:gd name="connsiteY7" fmla="*/ 4588990 h 4588990"/>
              <a:gd name="connsiteX8" fmla="*/ 0 w 8938390"/>
              <a:gd name="connsiteY8" fmla="*/ 4588990 h 4588990"/>
              <a:gd name="connsiteX9" fmla="*/ 149793 w 8938390"/>
              <a:gd name="connsiteY9" fmla="*/ 4296522 h 4588990"/>
              <a:gd name="connsiteX10" fmla="*/ 7368715 w 8938390"/>
              <a:gd name="connsiteY10" fmla="*/ 0 h 458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38390" h="4588990">
                <a:moveTo>
                  <a:pt x="7368715" y="0"/>
                </a:moveTo>
                <a:cubicBezTo>
                  <a:pt x="7793791" y="0"/>
                  <a:pt x="8211321" y="32306"/>
                  <a:pt x="8618986" y="94596"/>
                </a:cubicBezTo>
                <a:lnTo>
                  <a:pt x="8938390" y="151635"/>
                </a:lnTo>
                <a:lnTo>
                  <a:pt x="8938390" y="2273306"/>
                </a:lnTo>
                <a:lnTo>
                  <a:pt x="8903146" y="2263298"/>
                </a:lnTo>
                <a:cubicBezTo>
                  <a:pt x="8412701" y="2137112"/>
                  <a:pt x="7898545" y="2070000"/>
                  <a:pt x="7368715" y="2070000"/>
                </a:cubicBezTo>
                <a:cubicBezTo>
                  <a:pt x="5355357" y="2070000"/>
                  <a:pt x="3568342" y="3039089"/>
                  <a:pt x="2448675" y="4536261"/>
                </a:cubicBezTo>
                <a:lnTo>
                  <a:pt x="2411179" y="4588990"/>
                </a:lnTo>
                <a:lnTo>
                  <a:pt x="0" y="4588990"/>
                </a:lnTo>
                <a:lnTo>
                  <a:pt x="149793" y="4296522"/>
                </a:lnTo>
                <a:cubicBezTo>
                  <a:pt x="1540035" y="1737321"/>
                  <a:pt x="4251489" y="0"/>
                  <a:pt x="7368715" y="0"/>
                </a:cubicBezTo>
                <a:close/>
              </a:path>
            </a:pathLst>
          </a:custGeom>
          <a:solidFill>
            <a:srgbClr val="FFEF1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1054800"/>
            <a:ext cx="8348400" cy="900000"/>
          </a:xfrm>
        </p:spPr>
        <p:txBody>
          <a:bodyPr anchor="t" anchorCtr="0"/>
          <a:lstStyle>
            <a:lvl1pPr>
              <a:lnSpc>
                <a:spcPct val="85000"/>
              </a:lnSpc>
              <a:defRPr sz="50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2033355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5">
    <p:bg>
      <p:bgPr>
        <a:solidFill>
          <a:srgbClr val="013C74"/>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F9B770C1-95EA-4431-84A6-7AF220BDE6C5}"/>
              </a:ext>
            </a:extLst>
          </p:cNvPr>
          <p:cNvSpPr/>
          <p:nvPr userDrawn="1"/>
        </p:nvSpPr>
        <p:spPr>
          <a:xfrm>
            <a:off x="2194560" y="0"/>
            <a:ext cx="6957898" cy="5144400"/>
          </a:xfrm>
          <a:custGeom>
            <a:avLst/>
            <a:gdLst>
              <a:gd name="connsiteX0" fmla="*/ 0 w 6970542"/>
              <a:gd name="connsiteY0" fmla="*/ 21102 h 5190979"/>
              <a:gd name="connsiteX1" fmla="*/ 2750234 w 6970542"/>
              <a:gd name="connsiteY1" fmla="*/ 2757268 h 5190979"/>
              <a:gd name="connsiteX2" fmla="*/ 309489 w 6970542"/>
              <a:gd name="connsiteY2" fmla="*/ 5183945 h 5190979"/>
              <a:gd name="connsiteX3" fmla="*/ 3362179 w 6970542"/>
              <a:gd name="connsiteY3" fmla="*/ 5183945 h 5190979"/>
              <a:gd name="connsiteX4" fmla="*/ 4234376 w 6970542"/>
              <a:gd name="connsiteY4" fmla="*/ 4276579 h 5190979"/>
              <a:gd name="connsiteX5" fmla="*/ 5169877 w 6970542"/>
              <a:gd name="connsiteY5" fmla="*/ 5190979 h 5190979"/>
              <a:gd name="connsiteX6" fmla="*/ 6970542 w 6970542"/>
              <a:gd name="connsiteY6" fmla="*/ 5190979 h 5190979"/>
              <a:gd name="connsiteX7" fmla="*/ 6970542 w 6970542"/>
              <a:gd name="connsiteY7" fmla="*/ 3953022 h 5190979"/>
              <a:gd name="connsiteX8" fmla="*/ 5788856 w 6970542"/>
              <a:gd name="connsiteY8" fmla="*/ 2771336 h 5190979"/>
              <a:gd name="connsiteX9" fmla="*/ 6963508 w 6970542"/>
              <a:gd name="connsiteY9" fmla="*/ 1554480 h 5190979"/>
              <a:gd name="connsiteX10" fmla="*/ 6963508 w 6970542"/>
              <a:gd name="connsiteY10" fmla="*/ 0 h 5190979"/>
              <a:gd name="connsiteX11" fmla="*/ 5472332 w 6970542"/>
              <a:gd name="connsiteY11" fmla="*/ 0 h 5190979"/>
              <a:gd name="connsiteX12" fmla="*/ 4255477 w 6970542"/>
              <a:gd name="connsiteY12" fmla="*/ 1237957 h 5190979"/>
              <a:gd name="connsiteX13" fmla="*/ 3052689 w 6970542"/>
              <a:gd name="connsiteY13" fmla="*/ 7034 h 5190979"/>
              <a:gd name="connsiteX14" fmla="*/ 0 w 6970542"/>
              <a:gd name="connsiteY14" fmla="*/ 21102 h 5190979"/>
              <a:gd name="connsiteX0" fmla="*/ 0 w 6963508"/>
              <a:gd name="connsiteY0" fmla="*/ 7034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7034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0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38130 w 6963508"/>
              <a:gd name="connsiteY5" fmla="*/ 5162146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62146"/>
              <a:gd name="connsiteX1" fmla="*/ 2743200 w 6963508"/>
              <a:gd name="connsiteY1" fmla="*/ 2757268 h 5162146"/>
              <a:gd name="connsiteX2" fmla="*/ 335406 w 6963508"/>
              <a:gd name="connsiteY2" fmla="*/ 5150993 h 5162146"/>
              <a:gd name="connsiteX3" fmla="*/ 3375739 w 6963508"/>
              <a:gd name="connsiteY3" fmla="*/ 5150993 h 5162146"/>
              <a:gd name="connsiteX4" fmla="*/ 4243818 w 6963508"/>
              <a:gd name="connsiteY4" fmla="*/ 4264222 h 5162146"/>
              <a:gd name="connsiteX5" fmla="*/ 5138130 w 6963508"/>
              <a:gd name="connsiteY5" fmla="*/ 5162146 h 5162146"/>
              <a:gd name="connsiteX6" fmla="*/ 6963508 w 6963508"/>
              <a:gd name="connsiteY6" fmla="*/ 5153908 h 5162146"/>
              <a:gd name="connsiteX7" fmla="*/ 6963508 w 6963508"/>
              <a:gd name="connsiteY7" fmla="*/ 3953022 h 5162146"/>
              <a:gd name="connsiteX8" fmla="*/ 5781822 w 6963508"/>
              <a:gd name="connsiteY8" fmla="*/ 2771336 h 5162146"/>
              <a:gd name="connsiteX9" fmla="*/ 6956474 w 6963508"/>
              <a:gd name="connsiteY9" fmla="*/ 1554480 h 5162146"/>
              <a:gd name="connsiteX10" fmla="*/ 6956474 w 6963508"/>
              <a:gd name="connsiteY10" fmla="*/ 0 h 5162146"/>
              <a:gd name="connsiteX11" fmla="*/ 5465298 w 6963508"/>
              <a:gd name="connsiteY11" fmla="*/ 0 h 5162146"/>
              <a:gd name="connsiteX12" fmla="*/ 4248443 w 6963508"/>
              <a:gd name="connsiteY12" fmla="*/ 1237957 h 5162146"/>
              <a:gd name="connsiteX13" fmla="*/ 3045655 w 6963508"/>
              <a:gd name="connsiteY13" fmla="*/ 0 h 5162146"/>
              <a:gd name="connsiteX14" fmla="*/ 0 w 6963508"/>
              <a:gd name="connsiteY14" fmla="*/ 0 h 5162146"/>
              <a:gd name="connsiteX0" fmla="*/ 0 w 6963508"/>
              <a:gd name="connsiteY0" fmla="*/ 0 h 5158027"/>
              <a:gd name="connsiteX1" fmla="*/ 2743200 w 6963508"/>
              <a:gd name="connsiteY1" fmla="*/ 2757268 h 5158027"/>
              <a:gd name="connsiteX2" fmla="*/ 335406 w 6963508"/>
              <a:gd name="connsiteY2" fmla="*/ 5150993 h 5158027"/>
              <a:gd name="connsiteX3" fmla="*/ 3375739 w 6963508"/>
              <a:gd name="connsiteY3" fmla="*/ 5150993 h 5158027"/>
              <a:gd name="connsiteX4" fmla="*/ 4243818 w 6963508"/>
              <a:gd name="connsiteY4" fmla="*/ 4264222 h 5158027"/>
              <a:gd name="connsiteX5" fmla="*/ 5146367 w 6963508"/>
              <a:gd name="connsiteY5" fmla="*/ 5158027 h 5158027"/>
              <a:gd name="connsiteX6" fmla="*/ 6963508 w 6963508"/>
              <a:gd name="connsiteY6" fmla="*/ 5153908 h 5158027"/>
              <a:gd name="connsiteX7" fmla="*/ 6963508 w 6963508"/>
              <a:gd name="connsiteY7" fmla="*/ 3953022 h 5158027"/>
              <a:gd name="connsiteX8" fmla="*/ 5781822 w 6963508"/>
              <a:gd name="connsiteY8" fmla="*/ 2771336 h 5158027"/>
              <a:gd name="connsiteX9" fmla="*/ 6956474 w 6963508"/>
              <a:gd name="connsiteY9" fmla="*/ 1554480 h 5158027"/>
              <a:gd name="connsiteX10" fmla="*/ 6956474 w 6963508"/>
              <a:gd name="connsiteY10" fmla="*/ 0 h 5158027"/>
              <a:gd name="connsiteX11" fmla="*/ 5465298 w 6963508"/>
              <a:gd name="connsiteY11" fmla="*/ 0 h 5158027"/>
              <a:gd name="connsiteX12" fmla="*/ 4248443 w 6963508"/>
              <a:gd name="connsiteY12" fmla="*/ 1237957 h 5158027"/>
              <a:gd name="connsiteX13" fmla="*/ 3045655 w 6963508"/>
              <a:gd name="connsiteY13" fmla="*/ 0 h 5158027"/>
              <a:gd name="connsiteX14" fmla="*/ 0 w 6963508"/>
              <a:gd name="connsiteY14" fmla="*/ 0 h 5158027"/>
              <a:gd name="connsiteX0" fmla="*/ 0 w 6963508"/>
              <a:gd name="connsiteY0" fmla="*/ 0 h 5153908"/>
              <a:gd name="connsiteX1" fmla="*/ 2743200 w 6963508"/>
              <a:gd name="connsiteY1" fmla="*/ 2757268 h 5153908"/>
              <a:gd name="connsiteX2" fmla="*/ 335406 w 6963508"/>
              <a:gd name="connsiteY2" fmla="*/ 5150993 h 5153908"/>
              <a:gd name="connsiteX3" fmla="*/ 3375739 w 6963508"/>
              <a:gd name="connsiteY3" fmla="*/ 5150993 h 5153908"/>
              <a:gd name="connsiteX4" fmla="*/ 4243818 w 6963508"/>
              <a:gd name="connsiteY4" fmla="*/ 4264222 h 5153908"/>
              <a:gd name="connsiteX5" fmla="*/ 5146367 w 6963508"/>
              <a:gd name="connsiteY5" fmla="*/ 5152417 h 5153908"/>
              <a:gd name="connsiteX6" fmla="*/ 6963508 w 6963508"/>
              <a:gd name="connsiteY6" fmla="*/ 5153908 h 5153908"/>
              <a:gd name="connsiteX7" fmla="*/ 6963508 w 6963508"/>
              <a:gd name="connsiteY7" fmla="*/ 3953022 h 5153908"/>
              <a:gd name="connsiteX8" fmla="*/ 5781822 w 6963508"/>
              <a:gd name="connsiteY8" fmla="*/ 2771336 h 5153908"/>
              <a:gd name="connsiteX9" fmla="*/ 6956474 w 6963508"/>
              <a:gd name="connsiteY9" fmla="*/ 1554480 h 5153908"/>
              <a:gd name="connsiteX10" fmla="*/ 6956474 w 6963508"/>
              <a:gd name="connsiteY10" fmla="*/ 0 h 5153908"/>
              <a:gd name="connsiteX11" fmla="*/ 5465298 w 6963508"/>
              <a:gd name="connsiteY11" fmla="*/ 0 h 5153908"/>
              <a:gd name="connsiteX12" fmla="*/ 4248443 w 6963508"/>
              <a:gd name="connsiteY12" fmla="*/ 1237957 h 5153908"/>
              <a:gd name="connsiteX13" fmla="*/ 3045655 w 6963508"/>
              <a:gd name="connsiteY13" fmla="*/ 0 h 5153908"/>
              <a:gd name="connsiteX14" fmla="*/ 0 w 6963508"/>
              <a:gd name="connsiteY14" fmla="*/ 0 h 5153908"/>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5493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0993"/>
              <a:gd name="connsiteX1" fmla="*/ 2743200 w 6963508"/>
              <a:gd name="connsiteY1" fmla="*/ 2757268 h 5150993"/>
              <a:gd name="connsiteX2" fmla="*/ 335406 w 6963508"/>
              <a:gd name="connsiteY2" fmla="*/ 5150993 h 5150993"/>
              <a:gd name="connsiteX3" fmla="*/ 3375739 w 6963508"/>
              <a:gd name="connsiteY3" fmla="*/ 5150993 h 5150993"/>
              <a:gd name="connsiteX4" fmla="*/ 4243818 w 6963508"/>
              <a:gd name="connsiteY4" fmla="*/ 4264222 h 5150993"/>
              <a:gd name="connsiteX5" fmla="*/ 5146367 w 6963508"/>
              <a:gd name="connsiteY5" fmla="*/ 5149612 h 5150993"/>
              <a:gd name="connsiteX6" fmla="*/ 6955093 w 6963508"/>
              <a:gd name="connsiteY6" fmla="*/ 5148298 h 5150993"/>
              <a:gd name="connsiteX7" fmla="*/ 6963508 w 6963508"/>
              <a:gd name="connsiteY7" fmla="*/ 3953022 h 5150993"/>
              <a:gd name="connsiteX8" fmla="*/ 5781822 w 6963508"/>
              <a:gd name="connsiteY8" fmla="*/ 2771336 h 5150993"/>
              <a:gd name="connsiteX9" fmla="*/ 6956474 w 6963508"/>
              <a:gd name="connsiteY9" fmla="*/ 1554480 h 5150993"/>
              <a:gd name="connsiteX10" fmla="*/ 6956474 w 6963508"/>
              <a:gd name="connsiteY10" fmla="*/ 0 h 5150993"/>
              <a:gd name="connsiteX11" fmla="*/ 5465298 w 6963508"/>
              <a:gd name="connsiteY11" fmla="*/ 0 h 5150993"/>
              <a:gd name="connsiteX12" fmla="*/ 4248443 w 6963508"/>
              <a:gd name="connsiteY12" fmla="*/ 1237957 h 5150993"/>
              <a:gd name="connsiteX13" fmla="*/ 3045655 w 6963508"/>
              <a:gd name="connsiteY13" fmla="*/ 0 h 5150993"/>
              <a:gd name="connsiteX14" fmla="*/ 0 w 696350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71336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5699 h 5150993"/>
              <a:gd name="connsiteX13" fmla="*/ 3045655 w 6957898"/>
              <a:gd name="connsiteY13" fmla="*/ 0 h 5150993"/>
              <a:gd name="connsiteX14" fmla="*/ 0 w 6957898"/>
              <a:gd name="connsiteY14" fmla="*/ 0 h 5150993"/>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414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088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7898" h="5153616">
                <a:moveTo>
                  <a:pt x="0" y="2623"/>
                </a:moveTo>
                <a:lnTo>
                  <a:pt x="2732897" y="2749575"/>
                </a:lnTo>
                <a:lnTo>
                  <a:pt x="335406" y="5153616"/>
                </a:lnTo>
                <a:lnTo>
                  <a:pt x="3375739" y="5153616"/>
                </a:lnTo>
                <a:lnTo>
                  <a:pt x="4246358" y="4269388"/>
                </a:lnTo>
                <a:lnTo>
                  <a:pt x="5130886" y="5152235"/>
                </a:lnTo>
                <a:lnTo>
                  <a:pt x="6955093" y="5150921"/>
                </a:lnTo>
                <a:lnTo>
                  <a:pt x="6957898" y="3939077"/>
                </a:lnTo>
                <a:lnTo>
                  <a:pt x="5781822" y="2743105"/>
                </a:lnTo>
                <a:lnTo>
                  <a:pt x="6956474" y="1557103"/>
                </a:lnTo>
                <a:lnTo>
                  <a:pt x="6956474" y="2623"/>
                </a:lnTo>
                <a:lnTo>
                  <a:pt x="5460057" y="0"/>
                </a:lnTo>
                <a:lnTo>
                  <a:pt x="4251604" y="1213236"/>
                </a:lnTo>
                <a:lnTo>
                  <a:pt x="3045655" y="2623"/>
                </a:lnTo>
                <a:lnTo>
                  <a:pt x="0" y="2623"/>
                </a:lnTo>
                <a:close/>
              </a:path>
            </a:pathLst>
          </a:custGeom>
          <a:solidFill>
            <a:srgbClr val="007CBE"/>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le 1"/>
          <p:cNvSpPr>
            <a:spLocks noGrp="1"/>
          </p:cNvSpPr>
          <p:nvPr>
            <p:ph type="title"/>
          </p:nvPr>
        </p:nvSpPr>
        <p:spPr>
          <a:xfrm>
            <a:off x="399600" y="2692800"/>
            <a:ext cx="8348400" cy="900000"/>
          </a:xfrm>
        </p:spPr>
        <p:txBody>
          <a:bodyPr anchor="b"/>
          <a:lstStyle>
            <a:lvl1pPr>
              <a:lnSpc>
                <a:spcPct val="85000"/>
              </a:lnSpc>
              <a:defRPr sz="5000">
                <a:solidFill>
                  <a:srgbClr val="FFFFFF"/>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de-DE"/>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2B28B3E2-BA40-4815-B230-D28A7A80ABF0}" type="slidenum">
              <a:rPr lang="de-DE" smtClean="0"/>
              <a:pPr/>
              <a:t>‹Nr.›</a:t>
            </a:fld>
            <a:endParaRPr lang="de-DE"/>
          </a:p>
        </p:txBody>
      </p:sp>
      <p:pic>
        <p:nvPicPr>
          <p:cNvPr id="7" name="Bild 12" descr="Element 1-w.png">
            <a:extLst>
              <a:ext uri="{FF2B5EF4-FFF2-40B4-BE49-F238E27FC236}">
                <a16:creationId xmlns:a16="http://schemas.microsoft.com/office/drawing/2014/main" id="{B2A9A803-5C85-4790-A723-AF5BD135E7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15180" y="4795252"/>
            <a:ext cx="161424" cy="144000"/>
          </a:xfrm>
          <a:prstGeom prst="rect">
            <a:avLst/>
          </a:prstGeom>
        </p:spPr>
      </p:pic>
    </p:spTree>
    <p:extLst>
      <p:ext uri="{BB962C8B-B14F-4D97-AF65-F5344CB8AC3E}">
        <p14:creationId xmlns:p14="http://schemas.microsoft.com/office/powerpoint/2010/main" val="1744964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apiteltrenner 6">
    <p:bg>
      <p:bgPr>
        <a:solidFill>
          <a:srgbClr val="FFEF18"/>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D795B629-4DE6-4891-8B11-8F30D6278FAC}"/>
              </a:ext>
            </a:extLst>
          </p:cNvPr>
          <p:cNvSpPr>
            <a:spLocks/>
          </p:cNvSpPr>
          <p:nvPr userDrawn="1"/>
        </p:nvSpPr>
        <p:spPr>
          <a:xfrm>
            <a:off x="1674679" y="-1"/>
            <a:ext cx="7469320" cy="4420740"/>
          </a:xfrm>
          <a:custGeom>
            <a:avLst/>
            <a:gdLst>
              <a:gd name="connsiteX0" fmla="*/ 22648 w 7469320"/>
              <a:gd name="connsiteY0" fmla="*/ 0 h 4420740"/>
              <a:gd name="connsiteX1" fmla="*/ 7469320 w 7469320"/>
              <a:gd name="connsiteY1" fmla="*/ 0 h 4420740"/>
              <a:gd name="connsiteX2" fmla="*/ 7469320 w 7469320"/>
              <a:gd name="connsiteY2" fmla="*/ 2433540 h 4420740"/>
              <a:gd name="connsiteX3" fmla="*/ 7336303 w 7469320"/>
              <a:gd name="connsiteY3" fmla="*/ 2652493 h 4420740"/>
              <a:gd name="connsiteX4" fmla="*/ 4010628 w 7469320"/>
              <a:gd name="connsiteY4" fmla="*/ 4420740 h 4420740"/>
              <a:gd name="connsiteX5" fmla="*/ 0 w 7469320"/>
              <a:gd name="connsiteY5" fmla="*/ 410112 h 4420740"/>
              <a:gd name="connsiteX6" fmla="*/ 15886 w 7469320"/>
              <a:gd name="connsiteY6" fmla="*/ 50701 h 442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9320" h="4420740">
                <a:moveTo>
                  <a:pt x="22648" y="0"/>
                </a:moveTo>
                <a:lnTo>
                  <a:pt x="7469320" y="0"/>
                </a:lnTo>
                <a:lnTo>
                  <a:pt x="7469320" y="2433540"/>
                </a:lnTo>
                <a:lnTo>
                  <a:pt x="7336303" y="2652493"/>
                </a:lnTo>
                <a:cubicBezTo>
                  <a:pt x="6615564" y="3719326"/>
                  <a:pt x="5395008" y="4420740"/>
                  <a:pt x="4010628" y="4420740"/>
                </a:cubicBezTo>
                <a:cubicBezTo>
                  <a:pt x="1795619" y="4420740"/>
                  <a:pt x="0" y="2625121"/>
                  <a:pt x="0" y="410112"/>
                </a:cubicBezTo>
                <a:cubicBezTo>
                  <a:pt x="0" y="288979"/>
                  <a:pt x="5370" y="169100"/>
                  <a:pt x="15886" y="50701"/>
                </a:cubicBezTo>
                <a:close/>
              </a:path>
            </a:pathLst>
          </a:custGeom>
          <a:solidFill>
            <a:srgbClr val="F9D4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chemeClr val="bg1">
                  <a:lumMod val="75000"/>
                </a:schemeClr>
              </a:solidFill>
            </a:endParaRPr>
          </a:p>
        </p:txBody>
      </p:sp>
      <p:sp>
        <p:nvSpPr>
          <p:cNvPr id="2" name="Title 1"/>
          <p:cNvSpPr>
            <a:spLocks noGrp="1"/>
          </p:cNvSpPr>
          <p:nvPr>
            <p:ph type="title"/>
          </p:nvPr>
        </p:nvSpPr>
        <p:spPr>
          <a:xfrm>
            <a:off x="399600" y="2692800"/>
            <a:ext cx="8348400" cy="900000"/>
          </a:xfrm>
        </p:spPr>
        <p:txBody>
          <a:bodyPr anchor="b"/>
          <a:lstStyle>
            <a:lvl1pPr>
              <a:lnSpc>
                <a:spcPct val="85000"/>
              </a:lnSpc>
              <a:defRPr sz="5000">
                <a:solidFill>
                  <a:srgbClr val="D01D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4955130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trenner 7">
    <p:bg>
      <p:bgPr>
        <a:solidFill>
          <a:srgbClr val="76C7C9"/>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A90A6055-1A78-4416-B4FA-A5AECF02A2E7}"/>
              </a:ext>
            </a:extLst>
          </p:cNvPr>
          <p:cNvSpPr/>
          <p:nvPr userDrawn="1"/>
        </p:nvSpPr>
        <p:spPr>
          <a:xfrm>
            <a:off x="0" y="0"/>
            <a:ext cx="7692401" cy="5143500"/>
          </a:xfrm>
          <a:custGeom>
            <a:avLst/>
            <a:gdLst>
              <a:gd name="connsiteX0" fmla="*/ 0 w 7692401"/>
              <a:gd name="connsiteY0" fmla="*/ 0 h 5143500"/>
              <a:gd name="connsiteX1" fmla="*/ 2056070 w 7692401"/>
              <a:gd name="connsiteY1" fmla="*/ 0 h 5143500"/>
              <a:gd name="connsiteX2" fmla="*/ 3023199 w 7692401"/>
              <a:gd name="connsiteY2" fmla="*/ 964606 h 5143500"/>
              <a:gd name="connsiteX3" fmla="*/ 3992756 w 7692401"/>
              <a:gd name="connsiteY3" fmla="*/ 0 h 5143500"/>
              <a:gd name="connsiteX4" fmla="*/ 7692401 w 7692401"/>
              <a:gd name="connsiteY4" fmla="*/ 0 h 5143500"/>
              <a:gd name="connsiteX5" fmla="*/ 4875529 w 7692401"/>
              <a:gd name="connsiteY5" fmla="*/ 2827095 h 5143500"/>
              <a:gd name="connsiteX6" fmla="*/ 7190586 w 7692401"/>
              <a:gd name="connsiteY6" fmla="*/ 5143500 h 5143500"/>
              <a:gd name="connsiteX7" fmla="*/ 3487916 w 7692401"/>
              <a:gd name="connsiteY7" fmla="*/ 5143500 h 5143500"/>
              <a:gd name="connsiteX8" fmla="*/ 3023493 w 7692401"/>
              <a:gd name="connsiteY8" fmla="*/ 4676969 h 5143500"/>
              <a:gd name="connsiteX9" fmla="*/ 2559905 w 7692401"/>
              <a:gd name="connsiteY9" fmla="*/ 5143500 h 5143500"/>
              <a:gd name="connsiteX10" fmla="*/ 0 w 7692401"/>
              <a:gd name="connsiteY10" fmla="*/ 5143500 h 5143500"/>
              <a:gd name="connsiteX11" fmla="*/ 0 w 7692401"/>
              <a:gd name="connsiteY11" fmla="*/ 3995289 h 5143500"/>
              <a:gd name="connsiteX12" fmla="*/ 1174664 w 7692401"/>
              <a:gd name="connsiteY12" fmla="*/ 2823751 h 5143500"/>
              <a:gd name="connsiteX13" fmla="*/ 0 w 7692401"/>
              <a:gd name="connsiteY13" fmla="*/ 165235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92401" h="5143500">
                <a:moveTo>
                  <a:pt x="0" y="0"/>
                </a:moveTo>
                <a:lnTo>
                  <a:pt x="2056070" y="0"/>
                </a:lnTo>
                <a:lnTo>
                  <a:pt x="3023199" y="964606"/>
                </a:lnTo>
                <a:lnTo>
                  <a:pt x="3992756" y="0"/>
                </a:lnTo>
                <a:lnTo>
                  <a:pt x="7692401" y="0"/>
                </a:lnTo>
                <a:lnTo>
                  <a:pt x="4875529" y="2827095"/>
                </a:lnTo>
                <a:lnTo>
                  <a:pt x="7190586" y="5143500"/>
                </a:lnTo>
                <a:lnTo>
                  <a:pt x="3487916" y="5143500"/>
                </a:lnTo>
                <a:lnTo>
                  <a:pt x="3023493" y="4676969"/>
                </a:lnTo>
                <a:lnTo>
                  <a:pt x="2559905" y="5143500"/>
                </a:lnTo>
                <a:lnTo>
                  <a:pt x="0" y="5143500"/>
                </a:lnTo>
                <a:lnTo>
                  <a:pt x="0" y="3995289"/>
                </a:lnTo>
                <a:lnTo>
                  <a:pt x="1174664" y="2823751"/>
                </a:lnTo>
                <a:lnTo>
                  <a:pt x="0" y="1652355"/>
                </a:lnTo>
                <a:close/>
              </a:path>
            </a:pathLst>
          </a:custGeom>
          <a:solidFill>
            <a:srgbClr val="D2EAE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193200" y="2044800"/>
            <a:ext cx="5551200" cy="2419200"/>
          </a:xfrm>
        </p:spPr>
        <p:txBody>
          <a:bodyPr anchor="b"/>
          <a:lstStyle>
            <a:lvl1pPr>
              <a:lnSpc>
                <a:spcPct val="85000"/>
              </a:lnSpc>
              <a:defRPr sz="5000">
                <a:solidFill>
                  <a:srgbClr val="013C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660782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rgbClr val="FFFFFF"/>
        </a:solidFill>
        <a:effectLst/>
      </p:bgPr>
    </p:bg>
    <p:spTree>
      <p:nvGrpSpPr>
        <p:cNvPr id="1" name=""/>
        <p:cNvGrpSpPr/>
        <p:nvPr/>
      </p:nvGrpSpPr>
      <p:grpSpPr>
        <a:xfrm>
          <a:off x="0" y="0"/>
          <a:ext cx="0" cy="0"/>
          <a:chOff x="0" y="0"/>
          <a:chExt cx="0" cy="0"/>
        </a:xfrm>
      </p:grpSpPr>
      <p:sp>
        <p:nvSpPr>
          <p:cNvPr id="6" name="Freihandform: Form 6">
            <a:extLst>
              <a:ext uri="{FF2B5EF4-FFF2-40B4-BE49-F238E27FC236}">
                <a16:creationId xmlns:a16="http://schemas.microsoft.com/office/drawing/2014/main" id="{89CDB2FE-790D-4B26-8B64-87D238EDD060}"/>
              </a:ext>
            </a:extLst>
          </p:cNvPr>
          <p:cNvSpPr/>
          <p:nvPr userDrawn="1"/>
        </p:nvSpPr>
        <p:spPr>
          <a:xfrm>
            <a:off x="2383417" y="750771"/>
            <a:ext cx="6486983" cy="4392729"/>
          </a:xfrm>
          <a:custGeom>
            <a:avLst/>
            <a:gdLst>
              <a:gd name="connsiteX0" fmla="*/ 3243492 w 6486983"/>
              <a:gd name="connsiteY0" fmla="*/ 0 h 4392729"/>
              <a:gd name="connsiteX1" fmla="*/ 6486983 w 6486983"/>
              <a:gd name="connsiteY1" fmla="*/ 3243492 h 4392729"/>
              <a:gd name="connsiteX2" fmla="*/ 6290169 w 6486983"/>
              <a:gd name="connsiteY2" fmla="*/ 4358713 h 4392729"/>
              <a:gd name="connsiteX3" fmla="*/ 6276030 w 6486983"/>
              <a:gd name="connsiteY3" fmla="*/ 4392729 h 4392729"/>
              <a:gd name="connsiteX4" fmla="*/ 210953 w 6486983"/>
              <a:gd name="connsiteY4" fmla="*/ 4392729 h 4392729"/>
              <a:gd name="connsiteX5" fmla="*/ 196814 w 6486983"/>
              <a:gd name="connsiteY5" fmla="*/ 4358713 h 4392729"/>
              <a:gd name="connsiteX6" fmla="*/ 0 w 6486983"/>
              <a:gd name="connsiteY6" fmla="*/ 3243492 h 4392729"/>
              <a:gd name="connsiteX7" fmla="*/ 3243492 w 6486983"/>
              <a:gd name="connsiteY7" fmla="*/ 0 h 439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6983" h="4392729">
                <a:moveTo>
                  <a:pt x="3243492" y="0"/>
                </a:moveTo>
                <a:cubicBezTo>
                  <a:pt x="5034823" y="0"/>
                  <a:pt x="6486983" y="1452161"/>
                  <a:pt x="6486983" y="3243492"/>
                </a:cubicBezTo>
                <a:cubicBezTo>
                  <a:pt x="6486983" y="3635345"/>
                  <a:pt x="6417495" y="4010969"/>
                  <a:pt x="6290169" y="4358713"/>
                </a:cubicBezTo>
                <a:lnTo>
                  <a:pt x="6276030" y="4392729"/>
                </a:lnTo>
                <a:lnTo>
                  <a:pt x="210953" y="4392729"/>
                </a:lnTo>
                <a:lnTo>
                  <a:pt x="196814" y="4358713"/>
                </a:lnTo>
                <a:cubicBezTo>
                  <a:pt x="69488" y="4010969"/>
                  <a:pt x="0" y="3635345"/>
                  <a:pt x="0" y="3243492"/>
                </a:cubicBezTo>
                <a:cubicBezTo>
                  <a:pt x="0" y="1452161"/>
                  <a:pt x="1452161" y="0"/>
                  <a:pt x="3243492" y="0"/>
                </a:cubicBezTo>
                <a:close/>
              </a:path>
            </a:pathLst>
          </a:custGeom>
          <a:solidFill>
            <a:srgbClr val="F0EFA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799"/>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1D2C570E-8B6B-4468-AAA1-4A6E16CA0E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Tree>
    <p:extLst>
      <p:ext uri="{BB962C8B-B14F-4D97-AF65-F5344CB8AC3E}">
        <p14:creationId xmlns:p14="http://schemas.microsoft.com/office/powerpoint/2010/main" val="15972483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apiteltrenner 8">
    <p:bg>
      <p:bgPr>
        <a:solidFill>
          <a:srgbClr val="058E9B"/>
        </a:solidFill>
        <a:effectLst/>
      </p:bgPr>
    </p:bg>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C42D7A74-EDA4-4DD4-AF29-E1A1FF821A67}"/>
              </a:ext>
            </a:extLst>
          </p:cNvPr>
          <p:cNvSpPr/>
          <p:nvPr userDrawn="1"/>
        </p:nvSpPr>
        <p:spPr>
          <a:xfrm>
            <a:off x="1" y="0"/>
            <a:ext cx="8541397" cy="4806430"/>
          </a:xfrm>
          <a:custGeom>
            <a:avLst/>
            <a:gdLst>
              <a:gd name="connsiteX0" fmla="*/ 6822504 w 8541397"/>
              <a:gd name="connsiteY0" fmla="*/ 0 h 4806430"/>
              <a:gd name="connsiteX1" fmla="*/ 8541397 w 8541397"/>
              <a:gd name="connsiteY1" fmla="*/ 0 h 4806430"/>
              <a:gd name="connsiteX2" fmla="*/ 8463125 w 8541397"/>
              <a:gd name="connsiteY2" fmla="*/ 275636 h 4806430"/>
              <a:gd name="connsiteX3" fmla="*/ 2304699 w 8541397"/>
              <a:gd name="connsiteY3" fmla="*/ 4806430 h 4806430"/>
              <a:gd name="connsiteX4" fmla="*/ 87546 w 8541397"/>
              <a:gd name="connsiteY4" fmla="*/ 4415147 h 4806430"/>
              <a:gd name="connsiteX5" fmla="*/ 0 w 8541397"/>
              <a:gd name="connsiteY5" fmla="*/ 4380629 h 4806430"/>
              <a:gd name="connsiteX6" fmla="*/ 0 w 8541397"/>
              <a:gd name="connsiteY6" fmla="*/ 2575910 h 4806430"/>
              <a:gd name="connsiteX7" fmla="*/ 13937 w 8541397"/>
              <a:gd name="connsiteY7" fmla="*/ 2583923 h 4806430"/>
              <a:gd name="connsiteX8" fmla="*/ 2304699 w 8541397"/>
              <a:gd name="connsiteY8" fmla="*/ 3163966 h 4806430"/>
              <a:gd name="connsiteX9" fmla="*/ 6818946 w 8541397"/>
              <a:gd name="connsiteY9" fmla="*/ 10517 h 480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1397" h="4806430">
                <a:moveTo>
                  <a:pt x="6822504" y="0"/>
                </a:moveTo>
                <a:lnTo>
                  <a:pt x="8541397" y="0"/>
                </a:lnTo>
                <a:lnTo>
                  <a:pt x="8463125" y="275636"/>
                </a:lnTo>
                <a:cubicBezTo>
                  <a:pt x="7646692" y="2900548"/>
                  <a:pt x="5198267" y="4806430"/>
                  <a:pt x="2304699" y="4806430"/>
                </a:cubicBezTo>
                <a:cubicBezTo>
                  <a:pt x="1525661" y="4806430"/>
                  <a:pt x="778890" y="4668282"/>
                  <a:pt x="87546" y="4415147"/>
                </a:cubicBezTo>
                <a:lnTo>
                  <a:pt x="0" y="4380629"/>
                </a:lnTo>
                <a:lnTo>
                  <a:pt x="0" y="2575910"/>
                </a:lnTo>
                <a:lnTo>
                  <a:pt x="13937" y="2583923"/>
                </a:lnTo>
                <a:cubicBezTo>
                  <a:pt x="694896" y="2953843"/>
                  <a:pt x="1475259" y="3163966"/>
                  <a:pt x="2304699" y="3163966"/>
                </a:cubicBezTo>
                <a:cubicBezTo>
                  <a:pt x="4378298" y="3163966"/>
                  <a:pt x="6145166" y="1850697"/>
                  <a:pt x="6818946" y="10517"/>
                </a:cubicBezTo>
                <a:close/>
              </a:path>
            </a:pathLst>
          </a:custGeom>
          <a:solidFill>
            <a:srgbClr val="82C5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2692800"/>
            <a:ext cx="8348400" cy="900000"/>
          </a:xfrm>
        </p:spPr>
        <p:txBody>
          <a:bodyPr anchor="b"/>
          <a:lstStyle>
            <a:lvl1pPr>
              <a:lnSpc>
                <a:spcPct val="85000"/>
              </a:lnSpc>
              <a:defRPr sz="5000">
                <a:solidFill>
                  <a:srgbClr val="FFFFFF"/>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de-DE"/>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2B28B3E2-BA40-4815-B230-D28A7A80ABF0}" type="slidenum">
              <a:rPr lang="de-DE" smtClean="0"/>
              <a:pPr/>
              <a:t>‹Nr.›</a:t>
            </a:fld>
            <a:endParaRPr lang="de-DE"/>
          </a:p>
        </p:txBody>
      </p:sp>
      <p:pic>
        <p:nvPicPr>
          <p:cNvPr id="7" name="Bild 12" descr="Element 1-w.png">
            <a:extLst>
              <a:ext uri="{FF2B5EF4-FFF2-40B4-BE49-F238E27FC236}">
                <a16:creationId xmlns:a16="http://schemas.microsoft.com/office/drawing/2014/main" id="{B2A9A803-5C85-4790-A723-AF5BD135E7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15180" y="4795252"/>
            <a:ext cx="161424" cy="144000"/>
          </a:xfrm>
          <a:prstGeom prst="rect">
            <a:avLst/>
          </a:prstGeom>
        </p:spPr>
      </p:pic>
    </p:spTree>
    <p:extLst>
      <p:ext uri="{BB962C8B-B14F-4D97-AF65-F5344CB8AC3E}">
        <p14:creationId xmlns:p14="http://schemas.microsoft.com/office/powerpoint/2010/main" val="34467010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apiteltrenner 9">
    <p:bg>
      <p:bgPr>
        <a:solidFill>
          <a:srgbClr val="FFEF18"/>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4C48002-B6EF-4D14-BE89-D489B6E224C3}"/>
              </a:ext>
            </a:extLst>
          </p:cNvPr>
          <p:cNvSpPr>
            <a:spLocks noChangeAspect="1"/>
          </p:cNvSpPr>
          <p:nvPr userDrawn="1"/>
        </p:nvSpPr>
        <p:spPr>
          <a:xfrm>
            <a:off x="205610" y="554511"/>
            <a:ext cx="8938390" cy="4588990"/>
          </a:xfrm>
          <a:custGeom>
            <a:avLst/>
            <a:gdLst>
              <a:gd name="connsiteX0" fmla="*/ 7368715 w 8938390"/>
              <a:gd name="connsiteY0" fmla="*/ 0 h 4588990"/>
              <a:gd name="connsiteX1" fmla="*/ 8618986 w 8938390"/>
              <a:gd name="connsiteY1" fmla="*/ 94596 h 4588990"/>
              <a:gd name="connsiteX2" fmla="*/ 8938390 w 8938390"/>
              <a:gd name="connsiteY2" fmla="*/ 151635 h 4588990"/>
              <a:gd name="connsiteX3" fmla="*/ 8938390 w 8938390"/>
              <a:gd name="connsiteY3" fmla="*/ 2273306 h 4588990"/>
              <a:gd name="connsiteX4" fmla="*/ 8903146 w 8938390"/>
              <a:gd name="connsiteY4" fmla="*/ 2263298 h 4588990"/>
              <a:gd name="connsiteX5" fmla="*/ 7368715 w 8938390"/>
              <a:gd name="connsiteY5" fmla="*/ 2070000 h 4588990"/>
              <a:gd name="connsiteX6" fmla="*/ 2448675 w 8938390"/>
              <a:gd name="connsiteY6" fmla="*/ 4536261 h 4588990"/>
              <a:gd name="connsiteX7" fmla="*/ 2411179 w 8938390"/>
              <a:gd name="connsiteY7" fmla="*/ 4588990 h 4588990"/>
              <a:gd name="connsiteX8" fmla="*/ 0 w 8938390"/>
              <a:gd name="connsiteY8" fmla="*/ 4588990 h 4588990"/>
              <a:gd name="connsiteX9" fmla="*/ 149793 w 8938390"/>
              <a:gd name="connsiteY9" fmla="*/ 4296522 h 4588990"/>
              <a:gd name="connsiteX10" fmla="*/ 7368715 w 8938390"/>
              <a:gd name="connsiteY10" fmla="*/ 0 h 458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38390" h="4588990">
                <a:moveTo>
                  <a:pt x="7368715" y="0"/>
                </a:moveTo>
                <a:cubicBezTo>
                  <a:pt x="7793791" y="0"/>
                  <a:pt x="8211321" y="32306"/>
                  <a:pt x="8618986" y="94596"/>
                </a:cubicBezTo>
                <a:lnTo>
                  <a:pt x="8938390" y="151635"/>
                </a:lnTo>
                <a:lnTo>
                  <a:pt x="8938390" y="2273306"/>
                </a:lnTo>
                <a:lnTo>
                  <a:pt x="8903146" y="2263298"/>
                </a:lnTo>
                <a:cubicBezTo>
                  <a:pt x="8412701" y="2137112"/>
                  <a:pt x="7898545" y="2070000"/>
                  <a:pt x="7368715" y="2070000"/>
                </a:cubicBezTo>
                <a:cubicBezTo>
                  <a:pt x="5355357" y="2070000"/>
                  <a:pt x="3568342" y="3039089"/>
                  <a:pt x="2448675" y="4536261"/>
                </a:cubicBezTo>
                <a:lnTo>
                  <a:pt x="2411179" y="4588990"/>
                </a:lnTo>
                <a:lnTo>
                  <a:pt x="0" y="4588990"/>
                </a:lnTo>
                <a:lnTo>
                  <a:pt x="149793" y="4296522"/>
                </a:lnTo>
                <a:cubicBezTo>
                  <a:pt x="1540035" y="1737321"/>
                  <a:pt x="4251489" y="0"/>
                  <a:pt x="7368715" y="0"/>
                </a:cubicBezTo>
                <a:close/>
              </a:path>
            </a:pathLst>
          </a:custGeom>
          <a:solidFill>
            <a:srgbClr val="82C5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1054800"/>
            <a:ext cx="8348400" cy="900000"/>
          </a:xfrm>
        </p:spPr>
        <p:txBody>
          <a:bodyPr anchor="t" anchorCtr="0"/>
          <a:lstStyle>
            <a:lvl1pPr>
              <a:lnSpc>
                <a:spcPct val="85000"/>
              </a:lnSpc>
              <a:defRPr sz="5000">
                <a:solidFill>
                  <a:srgbClr val="D01D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41893965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apiteltrenner 10">
    <p:bg>
      <p:bgPr>
        <a:solidFill>
          <a:srgbClr val="CED848"/>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B3AB3602-B929-4DB2-A0E0-C37B850C1C44}"/>
              </a:ext>
            </a:extLst>
          </p:cNvPr>
          <p:cNvSpPr/>
          <p:nvPr userDrawn="1"/>
        </p:nvSpPr>
        <p:spPr>
          <a:xfrm>
            <a:off x="2194560" y="0"/>
            <a:ext cx="6957898" cy="5144400"/>
          </a:xfrm>
          <a:custGeom>
            <a:avLst/>
            <a:gdLst>
              <a:gd name="connsiteX0" fmla="*/ 0 w 6970542"/>
              <a:gd name="connsiteY0" fmla="*/ 21102 h 5190979"/>
              <a:gd name="connsiteX1" fmla="*/ 2750234 w 6970542"/>
              <a:gd name="connsiteY1" fmla="*/ 2757268 h 5190979"/>
              <a:gd name="connsiteX2" fmla="*/ 309489 w 6970542"/>
              <a:gd name="connsiteY2" fmla="*/ 5183945 h 5190979"/>
              <a:gd name="connsiteX3" fmla="*/ 3362179 w 6970542"/>
              <a:gd name="connsiteY3" fmla="*/ 5183945 h 5190979"/>
              <a:gd name="connsiteX4" fmla="*/ 4234376 w 6970542"/>
              <a:gd name="connsiteY4" fmla="*/ 4276579 h 5190979"/>
              <a:gd name="connsiteX5" fmla="*/ 5169877 w 6970542"/>
              <a:gd name="connsiteY5" fmla="*/ 5190979 h 5190979"/>
              <a:gd name="connsiteX6" fmla="*/ 6970542 w 6970542"/>
              <a:gd name="connsiteY6" fmla="*/ 5190979 h 5190979"/>
              <a:gd name="connsiteX7" fmla="*/ 6970542 w 6970542"/>
              <a:gd name="connsiteY7" fmla="*/ 3953022 h 5190979"/>
              <a:gd name="connsiteX8" fmla="*/ 5788856 w 6970542"/>
              <a:gd name="connsiteY8" fmla="*/ 2771336 h 5190979"/>
              <a:gd name="connsiteX9" fmla="*/ 6963508 w 6970542"/>
              <a:gd name="connsiteY9" fmla="*/ 1554480 h 5190979"/>
              <a:gd name="connsiteX10" fmla="*/ 6963508 w 6970542"/>
              <a:gd name="connsiteY10" fmla="*/ 0 h 5190979"/>
              <a:gd name="connsiteX11" fmla="*/ 5472332 w 6970542"/>
              <a:gd name="connsiteY11" fmla="*/ 0 h 5190979"/>
              <a:gd name="connsiteX12" fmla="*/ 4255477 w 6970542"/>
              <a:gd name="connsiteY12" fmla="*/ 1237957 h 5190979"/>
              <a:gd name="connsiteX13" fmla="*/ 3052689 w 6970542"/>
              <a:gd name="connsiteY13" fmla="*/ 7034 h 5190979"/>
              <a:gd name="connsiteX14" fmla="*/ 0 w 6970542"/>
              <a:gd name="connsiteY14" fmla="*/ 21102 h 5190979"/>
              <a:gd name="connsiteX0" fmla="*/ 0 w 6963508"/>
              <a:gd name="connsiteY0" fmla="*/ 7034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7034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7034 h 5190979"/>
              <a:gd name="connsiteX14" fmla="*/ 0 w 6963508"/>
              <a:gd name="connsiteY14" fmla="*/ 0 h 5190979"/>
              <a:gd name="connsiteX0" fmla="*/ 0 w 6963508"/>
              <a:gd name="connsiteY0" fmla="*/ 0 h 5190979"/>
              <a:gd name="connsiteX1" fmla="*/ 2743200 w 6963508"/>
              <a:gd name="connsiteY1" fmla="*/ 2757268 h 5190979"/>
              <a:gd name="connsiteX2" fmla="*/ 302455 w 6963508"/>
              <a:gd name="connsiteY2" fmla="*/ 5183945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55145 w 6963508"/>
              <a:gd name="connsiteY3" fmla="*/ 5183945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5112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27342 w 6963508"/>
              <a:gd name="connsiteY4" fmla="*/ 4276579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62843 w 6963508"/>
              <a:gd name="connsiteY5" fmla="*/ 5190979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90979"/>
              <a:gd name="connsiteX1" fmla="*/ 2743200 w 6963508"/>
              <a:gd name="connsiteY1" fmla="*/ 2757268 h 5190979"/>
              <a:gd name="connsiteX2" fmla="*/ 335406 w 6963508"/>
              <a:gd name="connsiteY2" fmla="*/ 5150993 h 5190979"/>
              <a:gd name="connsiteX3" fmla="*/ 3375739 w 6963508"/>
              <a:gd name="connsiteY3" fmla="*/ 5150993 h 5190979"/>
              <a:gd name="connsiteX4" fmla="*/ 4243818 w 6963508"/>
              <a:gd name="connsiteY4" fmla="*/ 4264222 h 5190979"/>
              <a:gd name="connsiteX5" fmla="*/ 5138130 w 6963508"/>
              <a:gd name="connsiteY5" fmla="*/ 5162146 h 5190979"/>
              <a:gd name="connsiteX6" fmla="*/ 6963508 w 6963508"/>
              <a:gd name="connsiteY6" fmla="*/ 5190979 h 5190979"/>
              <a:gd name="connsiteX7" fmla="*/ 6963508 w 6963508"/>
              <a:gd name="connsiteY7" fmla="*/ 3953022 h 5190979"/>
              <a:gd name="connsiteX8" fmla="*/ 5781822 w 6963508"/>
              <a:gd name="connsiteY8" fmla="*/ 2771336 h 5190979"/>
              <a:gd name="connsiteX9" fmla="*/ 6956474 w 6963508"/>
              <a:gd name="connsiteY9" fmla="*/ 1554480 h 5190979"/>
              <a:gd name="connsiteX10" fmla="*/ 6956474 w 6963508"/>
              <a:gd name="connsiteY10" fmla="*/ 0 h 5190979"/>
              <a:gd name="connsiteX11" fmla="*/ 5465298 w 6963508"/>
              <a:gd name="connsiteY11" fmla="*/ 0 h 5190979"/>
              <a:gd name="connsiteX12" fmla="*/ 4248443 w 6963508"/>
              <a:gd name="connsiteY12" fmla="*/ 1237957 h 5190979"/>
              <a:gd name="connsiteX13" fmla="*/ 3045655 w 6963508"/>
              <a:gd name="connsiteY13" fmla="*/ 0 h 5190979"/>
              <a:gd name="connsiteX14" fmla="*/ 0 w 6963508"/>
              <a:gd name="connsiteY14" fmla="*/ 0 h 5190979"/>
              <a:gd name="connsiteX0" fmla="*/ 0 w 6963508"/>
              <a:gd name="connsiteY0" fmla="*/ 0 h 5162146"/>
              <a:gd name="connsiteX1" fmla="*/ 2743200 w 6963508"/>
              <a:gd name="connsiteY1" fmla="*/ 2757268 h 5162146"/>
              <a:gd name="connsiteX2" fmla="*/ 335406 w 6963508"/>
              <a:gd name="connsiteY2" fmla="*/ 5150993 h 5162146"/>
              <a:gd name="connsiteX3" fmla="*/ 3375739 w 6963508"/>
              <a:gd name="connsiteY3" fmla="*/ 5150993 h 5162146"/>
              <a:gd name="connsiteX4" fmla="*/ 4243818 w 6963508"/>
              <a:gd name="connsiteY4" fmla="*/ 4264222 h 5162146"/>
              <a:gd name="connsiteX5" fmla="*/ 5138130 w 6963508"/>
              <a:gd name="connsiteY5" fmla="*/ 5162146 h 5162146"/>
              <a:gd name="connsiteX6" fmla="*/ 6963508 w 6963508"/>
              <a:gd name="connsiteY6" fmla="*/ 5153908 h 5162146"/>
              <a:gd name="connsiteX7" fmla="*/ 6963508 w 6963508"/>
              <a:gd name="connsiteY7" fmla="*/ 3953022 h 5162146"/>
              <a:gd name="connsiteX8" fmla="*/ 5781822 w 6963508"/>
              <a:gd name="connsiteY8" fmla="*/ 2771336 h 5162146"/>
              <a:gd name="connsiteX9" fmla="*/ 6956474 w 6963508"/>
              <a:gd name="connsiteY9" fmla="*/ 1554480 h 5162146"/>
              <a:gd name="connsiteX10" fmla="*/ 6956474 w 6963508"/>
              <a:gd name="connsiteY10" fmla="*/ 0 h 5162146"/>
              <a:gd name="connsiteX11" fmla="*/ 5465298 w 6963508"/>
              <a:gd name="connsiteY11" fmla="*/ 0 h 5162146"/>
              <a:gd name="connsiteX12" fmla="*/ 4248443 w 6963508"/>
              <a:gd name="connsiteY12" fmla="*/ 1237957 h 5162146"/>
              <a:gd name="connsiteX13" fmla="*/ 3045655 w 6963508"/>
              <a:gd name="connsiteY13" fmla="*/ 0 h 5162146"/>
              <a:gd name="connsiteX14" fmla="*/ 0 w 6963508"/>
              <a:gd name="connsiteY14" fmla="*/ 0 h 5162146"/>
              <a:gd name="connsiteX0" fmla="*/ 0 w 6963508"/>
              <a:gd name="connsiteY0" fmla="*/ 0 h 5158027"/>
              <a:gd name="connsiteX1" fmla="*/ 2743200 w 6963508"/>
              <a:gd name="connsiteY1" fmla="*/ 2757268 h 5158027"/>
              <a:gd name="connsiteX2" fmla="*/ 335406 w 6963508"/>
              <a:gd name="connsiteY2" fmla="*/ 5150993 h 5158027"/>
              <a:gd name="connsiteX3" fmla="*/ 3375739 w 6963508"/>
              <a:gd name="connsiteY3" fmla="*/ 5150993 h 5158027"/>
              <a:gd name="connsiteX4" fmla="*/ 4243818 w 6963508"/>
              <a:gd name="connsiteY4" fmla="*/ 4264222 h 5158027"/>
              <a:gd name="connsiteX5" fmla="*/ 5146367 w 6963508"/>
              <a:gd name="connsiteY5" fmla="*/ 5158027 h 5158027"/>
              <a:gd name="connsiteX6" fmla="*/ 6963508 w 6963508"/>
              <a:gd name="connsiteY6" fmla="*/ 5153908 h 5158027"/>
              <a:gd name="connsiteX7" fmla="*/ 6963508 w 6963508"/>
              <a:gd name="connsiteY7" fmla="*/ 3953022 h 5158027"/>
              <a:gd name="connsiteX8" fmla="*/ 5781822 w 6963508"/>
              <a:gd name="connsiteY8" fmla="*/ 2771336 h 5158027"/>
              <a:gd name="connsiteX9" fmla="*/ 6956474 w 6963508"/>
              <a:gd name="connsiteY9" fmla="*/ 1554480 h 5158027"/>
              <a:gd name="connsiteX10" fmla="*/ 6956474 w 6963508"/>
              <a:gd name="connsiteY10" fmla="*/ 0 h 5158027"/>
              <a:gd name="connsiteX11" fmla="*/ 5465298 w 6963508"/>
              <a:gd name="connsiteY11" fmla="*/ 0 h 5158027"/>
              <a:gd name="connsiteX12" fmla="*/ 4248443 w 6963508"/>
              <a:gd name="connsiteY12" fmla="*/ 1237957 h 5158027"/>
              <a:gd name="connsiteX13" fmla="*/ 3045655 w 6963508"/>
              <a:gd name="connsiteY13" fmla="*/ 0 h 5158027"/>
              <a:gd name="connsiteX14" fmla="*/ 0 w 6963508"/>
              <a:gd name="connsiteY14" fmla="*/ 0 h 5158027"/>
              <a:gd name="connsiteX0" fmla="*/ 0 w 6963508"/>
              <a:gd name="connsiteY0" fmla="*/ 0 h 5153908"/>
              <a:gd name="connsiteX1" fmla="*/ 2743200 w 6963508"/>
              <a:gd name="connsiteY1" fmla="*/ 2757268 h 5153908"/>
              <a:gd name="connsiteX2" fmla="*/ 335406 w 6963508"/>
              <a:gd name="connsiteY2" fmla="*/ 5150993 h 5153908"/>
              <a:gd name="connsiteX3" fmla="*/ 3375739 w 6963508"/>
              <a:gd name="connsiteY3" fmla="*/ 5150993 h 5153908"/>
              <a:gd name="connsiteX4" fmla="*/ 4243818 w 6963508"/>
              <a:gd name="connsiteY4" fmla="*/ 4264222 h 5153908"/>
              <a:gd name="connsiteX5" fmla="*/ 5146367 w 6963508"/>
              <a:gd name="connsiteY5" fmla="*/ 5152417 h 5153908"/>
              <a:gd name="connsiteX6" fmla="*/ 6963508 w 6963508"/>
              <a:gd name="connsiteY6" fmla="*/ 5153908 h 5153908"/>
              <a:gd name="connsiteX7" fmla="*/ 6963508 w 6963508"/>
              <a:gd name="connsiteY7" fmla="*/ 3953022 h 5153908"/>
              <a:gd name="connsiteX8" fmla="*/ 5781822 w 6963508"/>
              <a:gd name="connsiteY8" fmla="*/ 2771336 h 5153908"/>
              <a:gd name="connsiteX9" fmla="*/ 6956474 w 6963508"/>
              <a:gd name="connsiteY9" fmla="*/ 1554480 h 5153908"/>
              <a:gd name="connsiteX10" fmla="*/ 6956474 w 6963508"/>
              <a:gd name="connsiteY10" fmla="*/ 0 h 5153908"/>
              <a:gd name="connsiteX11" fmla="*/ 5465298 w 6963508"/>
              <a:gd name="connsiteY11" fmla="*/ 0 h 5153908"/>
              <a:gd name="connsiteX12" fmla="*/ 4248443 w 6963508"/>
              <a:gd name="connsiteY12" fmla="*/ 1237957 h 5153908"/>
              <a:gd name="connsiteX13" fmla="*/ 3045655 w 6963508"/>
              <a:gd name="connsiteY13" fmla="*/ 0 h 5153908"/>
              <a:gd name="connsiteX14" fmla="*/ 0 w 6963508"/>
              <a:gd name="connsiteY14" fmla="*/ 0 h 5153908"/>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5493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2417"/>
              <a:gd name="connsiteX1" fmla="*/ 2743200 w 6963508"/>
              <a:gd name="connsiteY1" fmla="*/ 2757268 h 5152417"/>
              <a:gd name="connsiteX2" fmla="*/ 335406 w 6963508"/>
              <a:gd name="connsiteY2" fmla="*/ 5150993 h 5152417"/>
              <a:gd name="connsiteX3" fmla="*/ 3375739 w 6963508"/>
              <a:gd name="connsiteY3" fmla="*/ 5150993 h 5152417"/>
              <a:gd name="connsiteX4" fmla="*/ 4243818 w 6963508"/>
              <a:gd name="connsiteY4" fmla="*/ 4264222 h 5152417"/>
              <a:gd name="connsiteX5" fmla="*/ 5146367 w 6963508"/>
              <a:gd name="connsiteY5" fmla="*/ 5152417 h 5152417"/>
              <a:gd name="connsiteX6" fmla="*/ 6955093 w 6963508"/>
              <a:gd name="connsiteY6" fmla="*/ 5148298 h 5152417"/>
              <a:gd name="connsiteX7" fmla="*/ 6963508 w 6963508"/>
              <a:gd name="connsiteY7" fmla="*/ 3953022 h 5152417"/>
              <a:gd name="connsiteX8" fmla="*/ 5781822 w 6963508"/>
              <a:gd name="connsiteY8" fmla="*/ 2771336 h 5152417"/>
              <a:gd name="connsiteX9" fmla="*/ 6956474 w 6963508"/>
              <a:gd name="connsiteY9" fmla="*/ 1554480 h 5152417"/>
              <a:gd name="connsiteX10" fmla="*/ 6956474 w 6963508"/>
              <a:gd name="connsiteY10" fmla="*/ 0 h 5152417"/>
              <a:gd name="connsiteX11" fmla="*/ 5465298 w 6963508"/>
              <a:gd name="connsiteY11" fmla="*/ 0 h 5152417"/>
              <a:gd name="connsiteX12" fmla="*/ 4248443 w 6963508"/>
              <a:gd name="connsiteY12" fmla="*/ 1237957 h 5152417"/>
              <a:gd name="connsiteX13" fmla="*/ 3045655 w 6963508"/>
              <a:gd name="connsiteY13" fmla="*/ 0 h 5152417"/>
              <a:gd name="connsiteX14" fmla="*/ 0 w 6963508"/>
              <a:gd name="connsiteY14" fmla="*/ 0 h 5152417"/>
              <a:gd name="connsiteX0" fmla="*/ 0 w 6963508"/>
              <a:gd name="connsiteY0" fmla="*/ 0 h 5150993"/>
              <a:gd name="connsiteX1" fmla="*/ 2743200 w 6963508"/>
              <a:gd name="connsiteY1" fmla="*/ 2757268 h 5150993"/>
              <a:gd name="connsiteX2" fmla="*/ 335406 w 6963508"/>
              <a:gd name="connsiteY2" fmla="*/ 5150993 h 5150993"/>
              <a:gd name="connsiteX3" fmla="*/ 3375739 w 6963508"/>
              <a:gd name="connsiteY3" fmla="*/ 5150993 h 5150993"/>
              <a:gd name="connsiteX4" fmla="*/ 4243818 w 6963508"/>
              <a:gd name="connsiteY4" fmla="*/ 4264222 h 5150993"/>
              <a:gd name="connsiteX5" fmla="*/ 5146367 w 6963508"/>
              <a:gd name="connsiteY5" fmla="*/ 5149612 h 5150993"/>
              <a:gd name="connsiteX6" fmla="*/ 6955093 w 6963508"/>
              <a:gd name="connsiteY6" fmla="*/ 5148298 h 5150993"/>
              <a:gd name="connsiteX7" fmla="*/ 6963508 w 6963508"/>
              <a:gd name="connsiteY7" fmla="*/ 3953022 h 5150993"/>
              <a:gd name="connsiteX8" fmla="*/ 5781822 w 6963508"/>
              <a:gd name="connsiteY8" fmla="*/ 2771336 h 5150993"/>
              <a:gd name="connsiteX9" fmla="*/ 6956474 w 6963508"/>
              <a:gd name="connsiteY9" fmla="*/ 1554480 h 5150993"/>
              <a:gd name="connsiteX10" fmla="*/ 6956474 w 6963508"/>
              <a:gd name="connsiteY10" fmla="*/ 0 h 5150993"/>
              <a:gd name="connsiteX11" fmla="*/ 5465298 w 6963508"/>
              <a:gd name="connsiteY11" fmla="*/ 0 h 5150993"/>
              <a:gd name="connsiteX12" fmla="*/ 4248443 w 6963508"/>
              <a:gd name="connsiteY12" fmla="*/ 1237957 h 5150993"/>
              <a:gd name="connsiteX13" fmla="*/ 3045655 w 6963508"/>
              <a:gd name="connsiteY13" fmla="*/ 0 h 5150993"/>
              <a:gd name="connsiteX14" fmla="*/ 0 w 696350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71336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48443 w 6957898"/>
              <a:gd name="connsiteY12" fmla="*/ 1237957 h 5150993"/>
              <a:gd name="connsiteX13" fmla="*/ 3045655 w 6957898"/>
              <a:gd name="connsiteY13" fmla="*/ 0 h 5150993"/>
              <a:gd name="connsiteX14" fmla="*/ 0 w 6957898"/>
              <a:gd name="connsiteY14" fmla="*/ 0 h 5150993"/>
              <a:gd name="connsiteX0" fmla="*/ 0 w 6957898"/>
              <a:gd name="connsiteY0" fmla="*/ 0 h 5150993"/>
              <a:gd name="connsiteX1" fmla="*/ 2743200 w 6957898"/>
              <a:gd name="connsiteY1" fmla="*/ 2757268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6857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46367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8322 h 5150993"/>
              <a:gd name="connsiteX13" fmla="*/ 3045655 w 6957898"/>
              <a:gd name="connsiteY13" fmla="*/ 0 h 5150993"/>
              <a:gd name="connsiteX14" fmla="*/ 0 w 6957898"/>
              <a:gd name="connsiteY14" fmla="*/ 0 h 5150993"/>
              <a:gd name="connsiteX0" fmla="*/ 0 w 6957898"/>
              <a:gd name="connsiteY0" fmla="*/ 0 h 5150993"/>
              <a:gd name="connsiteX1" fmla="*/ 2732897 w 6957898"/>
              <a:gd name="connsiteY1" fmla="*/ 2746952 h 5150993"/>
              <a:gd name="connsiteX2" fmla="*/ 335406 w 6957898"/>
              <a:gd name="connsiteY2" fmla="*/ 5150993 h 5150993"/>
              <a:gd name="connsiteX3" fmla="*/ 3375739 w 6957898"/>
              <a:gd name="connsiteY3" fmla="*/ 5150993 h 5150993"/>
              <a:gd name="connsiteX4" fmla="*/ 4243818 w 6957898"/>
              <a:gd name="connsiteY4" fmla="*/ 4264222 h 5150993"/>
              <a:gd name="connsiteX5" fmla="*/ 5138506 w 6957898"/>
              <a:gd name="connsiteY5" fmla="*/ 5149612 h 5150993"/>
              <a:gd name="connsiteX6" fmla="*/ 6955093 w 6957898"/>
              <a:gd name="connsiteY6" fmla="*/ 5148298 h 5150993"/>
              <a:gd name="connsiteX7" fmla="*/ 6957898 w 6957898"/>
              <a:gd name="connsiteY7" fmla="*/ 3938997 h 5150993"/>
              <a:gd name="connsiteX8" fmla="*/ 5781822 w 6957898"/>
              <a:gd name="connsiteY8" fmla="*/ 2740482 h 5150993"/>
              <a:gd name="connsiteX9" fmla="*/ 6956474 w 6957898"/>
              <a:gd name="connsiteY9" fmla="*/ 1554480 h 5150993"/>
              <a:gd name="connsiteX10" fmla="*/ 6956474 w 6957898"/>
              <a:gd name="connsiteY10" fmla="*/ 0 h 5150993"/>
              <a:gd name="connsiteX11" fmla="*/ 5465298 w 6957898"/>
              <a:gd name="connsiteY11" fmla="*/ 0 h 5150993"/>
              <a:gd name="connsiteX12" fmla="*/ 4254144 w 6957898"/>
              <a:gd name="connsiteY12" fmla="*/ 1215699 h 5150993"/>
              <a:gd name="connsiteX13" fmla="*/ 3045655 w 6957898"/>
              <a:gd name="connsiteY13" fmla="*/ 0 h 5150993"/>
              <a:gd name="connsiteX14" fmla="*/ 0 w 6957898"/>
              <a:gd name="connsiteY14" fmla="*/ 0 h 5150993"/>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414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8322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41620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850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3818 w 6957898"/>
              <a:gd name="connsiteY4" fmla="*/ 4266845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596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 name="connsiteX0" fmla="*/ 0 w 6957898"/>
              <a:gd name="connsiteY0" fmla="*/ 2623 h 5153616"/>
              <a:gd name="connsiteX1" fmla="*/ 2732897 w 6957898"/>
              <a:gd name="connsiteY1" fmla="*/ 2749575 h 5153616"/>
              <a:gd name="connsiteX2" fmla="*/ 335406 w 6957898"/>
              <a:gd name="connsiteY2" fmla="*/ 5153616 h 5153616"/>
              <a:gd name="connsiteX3" fmla="*/ 3375739 w 6957898"/>
              <a:gd name="connsiteY3" fmla="*/ 5153616 h 5153616"/>
              <a:gd name="connsiteX4" fmla="*/ 4246358 w 6957898"/>
              <a:gd name="connsiteY4" fmla="*/ 4269388 h 5153616"/>
              <a:gd name="connsiteX5" fmla="*/ 5130886 w 6957898"/>
              <a:gd name="connsiteY5" fmla="*/ 5152235 h 5153616"/>
              <a:gd name="connsiteX6" fmla="*/ 6955093 w 6957898"/>
              <a:gd name="connsiteY6" fmla="*/ 5150921 h 5153616"/>
              <a:gd name="connsiteX7" fmla="*/ 6957898 w 6957898"/>
              <a:gd name="connsiteY7" fmla="*/ 3939077 h 5153616"/>
              <a:gd name="connsiteX8" fmla="*/ 5781822 w 6957898"/>
              <a:gd name="connsiteY8" fmla="*/ 2743105 h 5153616"/>
              <a:gd name="connsiteX9" fmla="*/ 6956474 w 6957898"/>
              <a:gd name="connsiteY9" fmla="*/ 1557103 h 5153616"/>
              <a:gd name="connsiteX10" fmla="*/ 6956474 w 6957898"/>
              <a:gd name="connsiteY10" fmla="*/ 2623 h 5153616"/>
              <a:gd name="connsiteX11" fmla="*/ 5460057 w 6957898"/>
              <a:gd name="connsiteY11" fmla="*/ 0 h 5153616"/>
              <a:gd name="connsiteX12" fmla="*/ 4251604 w 6957898"/>
              <a:gd name="connsiteY12" fmla="*/ 1213236 h 5153616"/>
              <a:gd name="connsiteX13" fmla="*/ 3045655 w 6957898"/>
              <a:gd name="connsiteY13" fmla="*/ 2623 h 5153616"/>
              <a:gd name="connsiteX14" fmla="*/ 0 w 6957898"/>
              <a:gd name="connsiteY14" fmla="*/ 2623 h 515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7898" h="5153616">
                <a:moveTo>
                  <a:pt x="0" y="2623"/>
                </a:moveTo>
                <a:lnTo>
                  <a:pt x="2732897" y="2749575"/>
                </a:lnTo>
                <a:lnTo>
                  <a:pt x="335406" y="5153616"/>
                </a:lnTo>
                <a:lnTo>
                  <a:pt x="3375739" y="5153616"/>
                </a:lnTo>
                <a:lnTo>
                  <a:pt x="4246358" y="4269388"/>
                </a:lnTo>
                <a:lnTo>
                  <a:pt x="5130886" y="5152235"/>
                </a:lnTo>
                <a:lnTo>
                  <a:pt x="6955093" y="5150921"/>
                </a:lnTo>
                <a:lnTo>
                  <a:pt x="6957898" y="3939077"/>
                </a:lnTo>
                <a:lnTo>
                  <a:pt x="5781822" y="2743105"/>
                </a:lnTo>
                <a:lnTo>
                  <a:pt x="6956474" y="1557103"/>
                </a:lnTo>
                <a:lnTo>
                  <a:pt x="6956474" y="2623"/>
                </a:lnTo>
                <a:lnTo>
                  <a:pt x="5460057" y="0"/>
                </a:lnTo>
                <a:lnTo>
                  <a:pt x="4251604" y="1213236"/>
                </a:lnTo>
                <a:lnTo>
                  <a:pt x="3045655" y="2623"/>
                </a:lnTo>
                <a:lnTo>
                  <a:pt x="0" y="2623"/>
                </a:lnTo>
                <a:close/>
              </a:path>
            </a:pathLst>
          </a:custGeom>
          <a:solidFill>
            <a:srgbClr val="FFEF18"/>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itle 1"/>
          <p:cNvSpPr>
            <a:spLocks noGrp="1"/>
          </p:cNvSpPr>
          <p:nvPr>
            <p:ph type="title"/>
          </p:nvPr>
        </p:nvSpPr>
        <p:spPr>
          <a:xfrm>
            <a:off x="399600" y="2692800"/>
            <a:ext cx="8348400" cy="900000"/>
          </a:xfrm>
        </p:spPr>
        <p:txBody>
          <a:bodyPr anchor="b"/>
          <a:lstStyle>
            <a:lvl1pPr>
              <a:lnSpc>
                <a:spcPct val="85000"/>
              </a:lnSpc>
              <a:defRPr sz="5000"/>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pic>
        <p:nvPicPr>
          <p:cNvPr id="9" name="Bild 7" descr="Element 2.png">
            <a:extLst>
              <a:ext uri="{FF2B5EF4-FFF2-40B4-BE49-F238E27FC236}">
                <a16:creationId xmlns:a16="http://schemas.microsoft.com/office/drawing/2014/main" id="{B1EA6C4A-88AA-4012-93AA-DB66ADB2239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15180" y="4795252"/>
            <a:ext cx="161424" cy="144000"/>
          </a:xfrm>
          <a:prstGeom prst="rect">
            <a:avLst/>
          </a:prstGeom>
        </p:spPr>
      </p:pic>
    </p:spTree>
    <p:extLst>
      <p:ext uri="{BB962C8B-B14F-4D97-AF65-F5344CB8AC3E}">
        <p14:creationId xmlns:p14="http://schemas.microsoft.com/office/powerpoint/2010/main" val="30996425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apiteltrenner 11">
    <p:bg>
      <p:bgPr>
        <a:solidFill>
          <a:srgbClr val="FFEF18"/>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23E4F1F-42E4-4E9F-8F2A-DADEE404C6D1}"/>
              </a:ext>
            </a:extLst>
          </p:cNvPr>
          <p:cNvSpPr/>
          <p:nvPr userDrawn="1"/>
        </p:nvSpPr>
        <p:spPr>
          <a:xfrm>
            <a:off x="2960343" y="1485000"/>
            <a:ext cx="6183658" cy="1787981"/>
          </a:xfrm>
          <a:prstGeom prst="rect">
            <a:avLst/>
          </a:prstGeom>
          <a:solidFill>
            <a:srgbClr val="D2E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2692800"/>
            <a:ext cx="8348400" cy="900000"/>
          </a:xfrm>
        </p:spPr>
        <p:txBody>
          <a:bodyPr anchor="b"/>
          <a:lstStyle>
            <a:lvl1pPr>
              <a:lnSpc>
                <a:spcPct val="85000"/>
              </a:lnSpc>
              <a:defRPr sz="5000">
                <a:solidFill>
                  <a:srgbClr val="058E9B"/>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15772246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apiteltrenner 12">
    <p:bg>
      <p:bgPr>
        <a:solidFill>
          <a:srgbClr val="FFFFFF"/>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B23E4F1F-42E4-4E9F-8F2A-DADEE404C6D1}"/>
              </a:ext>
            </a:extLst>
          </p:cNvPr>
          <p:cNvSpPr/>
          <p:nvPr userDrawn="1"/>
        </p:nvSpPr>
        <p:spPr>
          <a:xfrm>
            <a:off x="1908000" y="1717200"/>
            <a:ext cx="7236000" cy="2761200"/>
          </a:xfrm>
          <a:prstGeom prst="rect">
            <a:avLst/>
          </a:prstGeom>
          <a:solidFill>
            <a:srgbClr val="C9E8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399600" y="1792800"/>
            <a:ext cx="8348400" cy="900000"/>
          </a:xfrm>
        </p:spPr>
        <p:txBody>
          <a:bodyPr anchor="b"/>
          <a:lstStyle>
            <a:lvl1pPr>
              <a:lnSpc>
                <a:spcPct val="85000"/>
              </a:lnSpc>
              <a:defRPr sz="5000">
                <a:solidFill>
                  <a:srgbClr val="013C74"/>
                </a:solidFill>
              </a:defRPr>
            </a:lvl1pPr>
          </a:lstStyle>
          <a:p>
            <a:r>
              <a:rPr lang="de-DE"/>
              <a:t>Mastertitelformat bearbeiten</a:t>
            </a:r>
            <a:endParaRPr lang="en-US"/>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B28B3E2-BA40-4815-B230-D28A7A80ABF0}" type="slidenum">
              <a:rPr lang="de-DE" smtClean="0"/>
              <a:t>‹Nr.›</a:t>
            </a:fld>
            <a:endParaRPr lang="de-DE"/>
          </a:p>
        </p:txBody>
      </p:sp>
    </p:spTree>
    <p:extLst>
      <p:ext uri="{BB962C8B-B14F-4D97-AF65-F5344CB8AC3E}">
        <p14:creationId xmlns:p14="http://schemas.microsoft.com/office/powerpoint/2010/main" val="38081976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rgbClr val="35AEB5"/>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9482E918-0F74-4CDA-969D-04F2DCBBEE3E}"/>
              </a:ext>
            </a:extLst>
          </p:cNvPr>
          <p:cNvSpPr>
            <a:spLocks/>
          </p:cNvSpPr>
          <p:nvPr userDrawn="1"/>
        </p:nvSpPr>
        <p:spPr>
          <a:xfrm>
            <a:off x="1" y="1"/>
            <a:ext cx="5356555" cy="4468854"/>
          </a:xfrm>
          <a:custGeom>
            <a:avLst/>
            <a:gdLst>
              <a:gd name="connsiteX0" fmla="*/ 0 w 5356555"/>
              <a:gd name="connsiteY0" fmla="*/ 0 h 4468854"/>
              <a:gd name="connsiteX1" fmla="*/ 5147548 w 5356555"/>
              <a:gd name="connsiteY1" fmla="*/ 0 h 4468854"/>
              <a:gd name="connsiteX2" fmla="*/ 5207358 w 5356555"/>
              <a:gd name="connsiteY2" fmla="*/ 163413 h 4468854"/>
              <a:gd name="connsiteX3" fmla="*/ 5356555 w 5356555"/>
              <a:gd name="connsiteY3" fmla="*/ 1150261 h 4468854"/>
              <a:gd name="connsiteX4" fmla="*/ 2037962 w 5356555"/>
              <a:gd name="connsiteY4" fmla="*/ 4468854 h 4468854"/>
              <a:gd name="connsiteX5" fmla="*/ 182505 w 5356555"/>
              <a:gd name="connsiteY5" fmla="*/ 3902091 h 4468854"/>
              <a:gd name="connsiteX6" fmla="*/ 0 w 5356555"/>
              <a:gd name="connsiteY6" fmla="*/ 3765616 h 446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6555" h="4468854">
                <a:moveTo>
                  <a:pt x="0" y="0"/>
                </a:moveTo>
                <a:lnTo>
                  <a:pt x="5147548" y="0"/>
                </a:lnTo>
                <a:lnTo>
                  <a:pt x="5207358" y="163413"/>
                </a:lnTo>
                <a:cubicBezTo>
                  <a:pt x="5304321" y="475158"/>
                  <a:pt x="5356555" y="806610"/>
                  <a:pt x="5356555" y="1150261"/>
                </a:cubicBezTo>
                <a:cubicBezTo>
                  <a:pt x="5356555" y="2983069"/>
                  <a:pt x="3870770" y="4468854"/>
                  <a:pt x="2037962" y="4468854"/>
                </a:cubicBezTo>
                <a:cubicBezTo>
                  <a:pt x="1350659" y="4468854"/>
                  <a:pt x="712156" y="4259916"/>
                  <a:pt x="182505" y="3902091"/>
                </a:cubicBezTo>
                <a:lnTo>
                  <a:pt x="0" y="3765616"/>
                </a:lnTo>
                <a:close/>
              </a:path>
            </a:pathLst>
          </a:custGeom>
          <a:solidFill>
            <a:srgbClr val="FFEF1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chemeClr val="bg1">
                  <a:lumMod val="75000"/>
                </a:schemeClr>
              </a:solidFill>
            </a:endParaRPr>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de-DE" sz="3500" b="1">
                <a:solidFill>
                  <a:srgbClr val="013C74"/>
                </a:solidFill>
              </a:rPr>
              <a:t>Wir gestalten Energieversorgung. </a:t>
            </a:r>
          </a:p>
          <a:p>
            <a:pPr algn="l">
              <a:lnSpc>
                <a:spcPct val="90000"/>
              </a:lnSpc>
              <a:spcAft>
                <a:spcPts val="0"/>
              </a:spcAft>
            </a:pPr>
            <a:r>
              <a:rPr lang="de-DE" sz="3500" b="1">
                <a:solidFill>
                  <a:srgbClr val="013C74"/>
                </a:solidFill>
              </a:rPr>
              <a:t>Heute und im Energiemix der Zukunft.</a:t>
            </a:r>
          </a:p>
        </p:txBody>
      </p:sp>
    </p:spTree>
    <p:extLst>
      <p:ext uri="{BB962C8B-B14F-4D97-AF65-F5344CB8AC3E}">
        <p14:creationId xmlns:p14="http://schemas.microsoft.com/office/powerpoint/2010/main" val="3119320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chlussfolie 2">
    <p:bg>
      <p:bgPr>
        <a:solidFill>
          <a:srgbClr val="FFFFFF"/>
        </a:solidFill>
        <a:effectLst/>
      </p:bgPr>
    </p:bg>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713CFA56-7310-44DC-A920-21516188D864}"/>
              </a:ext>
            </a:extLst>
          </p:cNvPr>
          <p:cNvSpPr/>
          <p:nvPr userDrawn="1"/>
        </p:nvSpPr>
        <p:spPr>
          <a:xfrm>
            <a:off x="-230" y="-220"/>
            <a:ext cx="6300395" cy="5148000"/>
          </a:xfrm>
          <a:custGeom>
            <a:avLst/>
            <a:gdLst>
              <a:gd name="connsiteX0" fmla="*/ 0 w 6295293"/>
              <a:gd name="connsiteY0" fmla="*/ 0 h 5169877"/>
              <a:gd name="connsiteX1" fmla="*/ 0 w 6295293"/>
              <a:gd name="connsiteY1" fmla="*/ 1610751 h 5169877"/>
              <a:gd name="connsiteX2" fmla="*/ 921434 w 6295293"/>
              <a:gd name="connsiteY2" fmla="*/ 2525151 h 5169877"/>
              <a:gd name="connsiteX3" fmla="*/ 7034 w 6295293"/>
              <a:gd name="connsiteY3" fmla="*/ 3425484 h 5169877"/>
              <a:gd name="connsiteX4" fmla="*/ 7034 w 6295293"/>
              <a:gd name="connsiteY4" fmla="*/ 5169877 h 5169877"/>
              <a:gd name="connsiteX5" fmla="*/ 1026942 w 6295293"/>
              <a:gd name="connsiteY5" fmla="*/ 5169877 h 5169877"/>
              <a:gd name="connsiteX6" fmla="*/ 2293034 w 6295293"/>
              <a:gd name="connsiteY6" fmla="*/ 3889717 h 5169877"/>
              <a:gd name="connsiteX7" fmla="*/ 3566160 w 6295293"/>
              <a:gd name="connsiteY7" fmla="*/ 5169877 h 5169877"/>
              <a:gd name="connsiteX8" fmla="*/ 6295293 w 6295293"/>
              <a:gd name="connsiteY8" fmla="*/ 5169877 h 5169877"/>
              <a:gd name="connsiteX9" fmla="*/ 3664634 w 6295293"/>
              <a:gd name="connsiteY9" fmla="*/ 2518117 h 5169877"/>
              <a:gd name="connsiteX10" fmla="*/ 6147582 w 6295293"/>
              <a:gd name="connsiteY10" fmla="*/ 14068 h 5169877"/>
              <a:gd name="connsiteX11" fmla="*/ 3425483 w 6295293"/>
              <a:gd name="connsiteY11" fmla="*/ 14068 h 5169877"/>
              <a:gd name="connsiteX12" fmla="*/ 2307102 w 6295293"/>
              <a:gd name="connsiteY12" fmla="*/ 1139484 h 5169877"/>
              <a:gd name="connsiteX13" fmla="*/ 1160585 w 6295293"/>
              <a:gd name="connsiteY13" fmla="*/ 14068 h 5169877"/>
              <a:gd name="connsiteX14" fmla="*/ 0 w 6295293"/>
              <a:gd name="connsiteY14" fmla="*/ 0 h 5169877"/>
              <a:gd name="connsiteX0" fmla="*/ 9525 w 6295293"/>
              <a:gd name="connsiteY0" fmla="*/ 4982 h 5155809"/>
              <a:gd name="connsiteX1" fmla="*/ 0 w 6295293"/>
              <a:gd name="connsiteY1" fmla="*/ 1596683 h 5155809"/>
              <a:gd name="connsiteX2" fmla="*/ 921434 w 6295293"/>
              <a:gd name="connsiteY2" fmla="*/ 2511083 h 5155809"/>
              <a:gd name="connsiteX3" fmla="*/ 7034 w 6295293"/>
              <a:gd name="connsiteY3" fmla="*/ 3411416 h 5155809"/>
              <a:gd name="connsiteX4" fmla="*/ 7034 w 6295293"/>
              <a:gd name="connsiteY4" fmla="*/ 5155809 h 5155809"/>
              <a:gd name="connsiteX5" fmla="*/ 1026942 w 6295293"/>
              <a:gd name="connsiteY5" fmla="*/ 5155809 h 5155809"/>
              <a:gd name="connsiteX6" fmla="*/ 2293034 w 6295293"/>
              <a:gd name="connsiteY6" fmla="*/ 3875649 h 5155809"/>
              <a:gd name="connsiteX7" fmla="*/ 3566160 w 6295293"/>
              <a:gd name="connsiteY7" fmla="*/ 5155809 h 5155809"/>
              <a:gd name="connsiteX8" fmla="*/ 6295293 w 6295293"/>
              <a:gd name="connsiteY8" fmla="*/ 5155809 h 5155809"/>
              <a:gd name="connsiteX9" fmla="*/ 3664634 w 6295293"/>
              <a:gd name="connsiteY9" fmla="*/ 2504049 h 5155809"/>
              <a:gd name="connsiteX10" fmla="*/ 6147582 w 6295293"/>
              <a:gd name="connsiteY10" fmla="*/ 0 h 5155809"/>
              <a:gd name="connsiteX11" fmla="*/ 3425483 w 6295293"/>
              <a:gd name="connsiteY11" fmla="*/ 0 h 5155809"/>
              <a:gd name="connsiteX12" fmla="*/ 2307102 w 6295293"/>
              <a:gd name="connsiteY12" fmla="*/ 1125416 h 5155809"/>
              <a:gd name="connsiteX13" fmla="*/ 1160585 w 6295293"/>
              <a:gd name="connsiteY13" fmla="*/ 0 h 5155809"/>
              <a:gd name="connsiteX14" fmla="*/ 9525 w 6295293"/>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53551 w 6288259"/>
              <a:gd name="connsiteY13" fmla="*/ 0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2381 w 6288259"/>
              <a:gd name="connsiteY3" fmla="*/ 3420941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27051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1982 w 6288259"/>
              <a:gd name="connsiteY7" fmla="*/ 5153427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7600 w 6285878"/>
              <a:gd name="connsiteY9" fmla="*/ 2504049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2601 h 5155809"/>
              <a:gd name="connsiteX1" fmla="*/ 4873 w 6285878"/>
              <a:gd name="connsiteY1" fmla="*/ 1601446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7255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06542 w 6285878"/>
              <a:gd name="connsiteY11" fmla="*/ 0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0 h 5157971"/>
              <a:gd name="connsiteX1" fmla="*/ 2492 w 6285878"/>
              <a:gd name="connsiteY1" fmla="*/ 1601227 h 5157971"/>
              <a:gd name="connsiteX2" fmla="*/ 914400 w 6285878"/>
              <a:gd name="connsiteY2" fmla="*/ 2510864 h 5157971"/>
              <a:gd name="connsiteX3" fmla="*/ 2381 w 6285878"/>
              <a:gd name="connsiteY3" fmla="*/ 3420722 h 5157971"/>
              <a:gd name="connsiteX4" fmla="*/ 0 w 6285878"/>
              <a:gd name="connsiteY4" fmla="*/ 5155590 h 5157971"/>
              <a:gd name="connsiteX5" fmla="*/ 1019908 w 6285878"/>
              <a:gd name="connsiteY5" fmla="*/ 5157971 h 5157971"/>
              <a:gd name="connsiteX6" fmla="*/ 2288381 w 6285878"/>
              <a:gd name="connsiteY6" fmla="*/ 3884955 h 5157971"/>
              <a:gd name="connsiteX7" fmla="*/ 3551982 w 6285878"/>
              <a:gd name="connsiteY7" fmla="*/ 5153208 h 5157971"/>
              <a:gd name="connsiteX8" fmla="*/ 6285878 w 6285878"/>
              <a:gd name="connsiteY8" fmla="*/ 5150827 h 5157971"/>
              <a:gd name="connsiteX9" fmla="*/ 3659982 w 6285878"/>
              <a:gd name="connsiteY9" fmla="*/ 2510974 h 5157971"/>
              <a:gd name="connsiteX10" fmla="*/ 6152455 w 6285878"/>
              <a:gd name="connsiteY10" fmla="*/ 2162 h 5157971"/>
              <a:gd name="connsiteX11" fmla="*/ 3406542 w 6285878"/>
              <a:gd name="connsiteY11" fmla="*/ 2162 h 5157971"/>
              <a:gd name="connsiteX12" fmla="*/ 2283400 w 6285878"/>
              <a:gd name="connsiteY12" fmla="*/ 1127578 h 5157971"/>
              <a:gd name="connsiteX13" fmla="*/ 1160695 w 6285878"/>
              <a:gd name="connsiteY13" fmla="*/ 2162 h 5157971"/>
              <a:gd name="connsiteX14" fmla="*/ 2491 w 6285878"/>
              <a:gd name="connsiteY14" fmla="*/ 0 h 5157971"/>
              <a:gd name="connsiteX0" fmla="*/ 2491 w 6285878"/>
              <a:gd name="connsiteY0" fmla="*/ 219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2491 w 6285878"/>
              <a:gd name="connsiteY14" fmla="*/ 219 h 5158190"/>
              <a:gd name="connsiteX0" fmla="*/ 110 w 6285878"/>
              <a:gd name="connsiteY0" fmla="*/ 2600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600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8923 w 6285878"/>
              <a:gd name="connsiteY11" fmla="*/ 0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20 h 5158191"/>
              <a:gd name="connsiteX1" fmla="*/ 111 w 6285878"/>
              <a:gd name="connsiteY1" fmla="*/ 1599065 h 5158191"/>
              <a:gd name="connsiteX2" fmla="*/ 914400 w 6285878"/>
              <a:gd name="connsiteY2" fmla="*/ 2511084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16179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5175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9951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204"/>
              <a:gd name="connsiteX1" fmla="*/ 341 w 6286108"/>
              <a:gd name="connsiteY1" fmla="*/ 1599065 h 5158204"/>
              <a:gd name="connsiteX2" fmla="*/ 909868 w 6286108"/>
              <a:gd name="connsiteY2" fmla="*/ 2508702 h 5158204"/>
              <a:gd name="connsiteX3" fmla="*/ 229 w 6286108"/>
              <a:gd name="connsiteY3" fmla="*/ 3418560 h 5158204"/>
              <a:gd name="connsiteX4" fmla="*/ 230 w 6286108"/>
              <a:gd name="connsiteY4" fmla="*/ 5155810 h 5158204"/>
              <a:gd name="connsiteX5" fmla="*/ 1020138 w 6286108"/>
              <a:gd name="connsiteY5" fmla="*/ 5158191 h 5158204"/>
              <a:gd name="connsiteX6" fmla="*/ 2288611 w 6286108"/>
              <a:gd name="connsiteY6" fmla="*/ 3889951 h 5158204"/>
              <a:gd name="connsiteX7" fmla="*/ 3547449 w 6286108"/>
              <a:gd name="connsiteY7" fmla="*/ 5158204 h 5158204"/>
              <a:gd name="connsiteX8" fmla="*/ 6286108 w 6286108"/>
              <a:gd name="connsiteY8" fmla="*/ 5151047 h 5158204"/>
              <a:gd name="connsiteX9" fmla="*/ 3660212 w 6286108"/>
              <a:gd name="connsiteY9" fmla="*/ 2511194 h 5158204"/>
              <a:gd name="connsiteX10" fmla="*/ 6155066 w 6286108"/>
              <a:gd name="connsiteY10" fmla="*/ 0 h 5158204"/>
              <a:gd name="connsiteX11" fmla="*/ 3409153 w 6286108"/>
              <a:gd name="connsiteY11" fmla="*/ 1 h 5158204"/>
              <a:gd name="connsiteX12" fmla="*/ 2283630 w 6286108"/>
              <a:gd name="connsiteY12" fmla="*/ 1123035 h 5158204"/>
              <a:gd name="connsiteX13" fmla="*/ 1160925 w 6286108"/>
              <a:gd name="connsiteY13" fmla="*/ 1 h 5158204"/>
              <a:gd name="connsiteX14" fmla="*/ 340 w 6286108"/>
              <a:gd name="connsiteY14" fmla="*/ 220 h 5158204"/>
              <a:gd name="connsiteX0" fmla="*/ 340 w 6293252"/>
              <a:gd name="connsiteY0" fmla="*/ 220 h 5158204"/>
              <a:gd name="connsiteX1" fmla="*/ 341 w 6293252"/>
              <a:gd name="connsiteY1" fmla="*/ 1599065 h 5158204"/>
              <a:gd name="connsiteX2" fmla="*/ 909868 w 6293252"/>
              <a:gd name="connsiteY2" fmla="*/ 2508702 h 5158204"/>
              <a:gd name="connsiteX3" fmla="*/ 229 w 6293252"/>
              <a:gd name="connsiteY3" fmla="*/ 3418560 h 5158204"/>
              <a:gd name="connsiteX4" fmla="*/ 230 w 6293252"/>
              <a:gd name="connsiteY4" fmla="*/ 5155810 h 5158204"/>
              <a:gd name="connsiteX5" fmla="*/ 1020138 w 6293252"/>
              <a:gd name="connsiteY5" fmla="*/ 5158191 h 5158204"/>
              <a:gd name="connsiteX6" fmla="*/ 2288611 w 6293252"/>
              <a:gd name="connsiteY6" fmla="*/ 3889951 h 5158204"/>
              <a:gd name="connsiteX7" fmla="*/ 3547449 w 6293252"/>
              <a:gd name="connsiteY7" fmla="*/ 5158204 h 5158204"/>
              <a:gd name="connsiteX8" fmla="*/ 6293252 w 6293252"/>
              <a:gd name="connsiteY8" fmla="*/ 5153434 h 5158204"/>
              <a:gd name="connsiteX9" fmla="*/ 3660212 w 6293252"/>
              <a:gd name="connsiteY9" fmla="*/ 2511194 h 5158204"/>
              <a:gd name="connsiteX10" fmla="*/ 6155066 w 6293252"/>
              <a:gd name="connsiteY10" fmla="*/ 0 h 5158204"/>
              <a:gd name="connsiteX11" fmla="*/ 3409153 w 6293252"/>
              <a:gd name="connsiteY11" fmla="*/ 1 h 5158204"/>
              <a:gd name="connsiteX12" fmla="*/ 2283630 w 6293252"/>
              <a:gd name="connsiteY12" fmla="*/ 1123035 h 5158204"/>
              <a:gd name="connsiteX13" fmla="*/ 1160925 w 6293252"/>
              <a:gd name="connsiteY13" fmla="*/ 1 h 5158204"/>
              <a:gd name="connsiteX14" fmla="*/ 340 w 6293252"/>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8611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3848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60591"/>
              <a:gd name="connsiteX1" fmla="*/ 341 w 6298014"/>
              <a:gd name="connsiteY1" fmla="*/ 1599065 h 5160591"/>
              <a:gd name="connsiteX2" fmla="*/ 909868 w 6298014"/>
              <a:gd name="connsiteY2" fmla="*/ 2508702 h 5160591"/>
              <a:gd name="connsiteX3" fmla="*/ 229 w 6298014"/>
              <a:gd name="connsiteY3" fmla="*/ 3418560 h 5160591"/>
              <a:gd name="connsiteX4" fmla="*/ 230 w 6298014"/>
              <a:gd name="connsiteY4" fmla="*/ 5155810 h 5160591"/>
              <a:gd name="connsiteX5" fmla="*/ 1020138 w 6298014"/>
              <a:gd name="connsiteY5" fmla="*/ 5158191 h 5160591"/>
              <a:gd name="connsiteX6" fmla="*/ 2283848 w 6298014"/>
              <a:gd name="connsiteY6" fmla="*/ 3889951 h 5160591"/>
              <a:gd name="connsiteX7" fmla="*/ 3547449 w 6298014"/>
              <a:gd name="connsiteY7" fmla="*/ 5160591 h 5160591"/>
              <a:gd name="connsiteX8" fmla="*/ 6298014 w 6298014"/>
              <a:gd name="connsiteY8" fmla="*/ 5155822 h 5160591"/>
              <a:gd name="connsiteX9" fmla="*/ 3660212 w 6298014"/>
              <a:gd name="connsiteY9" fmla="*/ 2511194 h 5160591"/>
              <a:gd name="connsiteX10" fmla="*/ 6155066 w 6298014"/>
              <a:gd name="connsiteY10" fmla="*/ 0 h 5160591"/>
              <a:gd name="connsiteX11" fmla="*/ 3409153 w 6298014"/>
              <a:gd name="connsiteY11" fmla="*/ 1 h 5160591"/>
              <a:gd name="connsiteX12" fmla="*/ 2283630 w 6298014"/>
              <a:gd name="connsiteY12" fmla="*/ 1123035 h 5160591"/>
              <a:gd name="connsiteX13" fmla="*/ 1160925 w 6298014"/>
              <a:gd name="connsiteY13" fmla="*/ 1 h 5160591"/>
              <a:gd name="connsiteX14" fmla="*/ 340 w 6298014"/>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1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2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601"/>
              <a:gd name="connsiteX1" fmla="*/ 341 w 6300395"/>
              <a:gd name="connsiteY1" fmla="*/ 1599065 h 5160601"/>
              <a:gd name="connsiteX2" fmla="*/ 909868 w 6300395"/>
              <a:gd name="connsiteY2" fmla="*/ 2508702 h 5160601"/>
              <a:gd name="connsiteX3" fmla="*/ 229 w 6300395"/>
              <a:gd name="connsiteY3" fmla="*/ 3418560 h 5160601"/>
              <a:gd name="connsiteX4" fmla="*/ 230 w 6300395"/>
              <a:gd name="connsiteY4" fmla="*/ 5155810 h 5160601"/>
              <a:gd name="connsiteX5" fmla="*/ 1020138 w 6300395"/>
              <a:gd name="connsiteY5" fmla="*/ 5158191 h 5160601"/>
              <a:gd name="connsiteX6" fmla="*/ 2283848 w 6300395"/>
              <a:gd name="connsiteY6" fmla="*/ 3889951 h 5160601"/>
              <a:gd name="connsiteX7" fmla="*/ 3547449 w 6300395"/>
              <a:gd name="connsiteY7" fmla="*/ 5160591 h 5160601"/>
              <a:gd name="connsiteX8" fmla="*/ 6300395 w 6300395"/>
              <a:gd name="connsiteY8" fmla="*/ 5160601 h 5160601"/>
              <a:gd name="connsiteX9" fmla="*/ 3660212 w 6300395"/>
              <a:gd name="connsiteY9" fmla="*/ 2511194 h 5160601"/>
              <a:gd name="connsiteX10" fmla="*/ 6155066 w 6300395"/>
              <a:gd name="connsiteY10" fmla="*/ 0 h 5160601"/>
              <a:gd name="connsiteX11" fmla="*/ 3409153 w 6300395"/>
              <a:gd name="connsiteY11" fmla="*/ 1 h 5160601"/>
              <a:gd name="connsiteX12" fmla="*/ 2283630 w 6300395"/>
              <a:gd name="connsiteY12" fmla="*/ 1123035 h 5160601"/>
              <a:gd name="connsiteX13" fmla="*/ 1160925 w 6300395"/>
              <a:gd name="connsiteY13" fmla="*/ 1 h 5160601"/>
              <a:gd name="connsiteX14" fmla="*/ 340 w 6300395"/>
              <a:gd name="connsiteY14" fmla="*/ 220 h 5160601"/>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5810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6058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00395" h="5162979">
                <a:moveTo>
                  <a:pt x="340" y="220"/>
                </a:moveTo>
                <a:cubicBezTo>
                  <a:pt x="340" y="532375"/>
                  <a:pt x="341" y="1066910"/>
                  <a:pt x="341" y="1599065"/>
                </a:cubicBezTo>
                <a:lnTo>
                  <a:pt x="909868" y="2508702"/>
                </a:lnTo>
                <a:lnTo>
                  <a:pt x="229" y="3418560"/>
                </a:lnTo>
                <a:cubicBezTo>
                  <a:pt x="-565" y="3996849"/>
                  <a:pt x="1024" y="4582300"/>
                  <a:pt x="230" y="5160589"/>
                </a:cubicBezTo>
                <a:lnTo>
                  <a:pt x="1024901" y="5160579"/>
                </a:lnTo>
                <a:lnTo>
                  <a:pt x="2283848" y="3889951"/>
                </a:lnTo>
                <a:lnTo>
                  <a:pt x="3547449" y="5162979"/>
                </a:lnTo>
                <a:lnTo>
                  <a:pt x="6300395" y="5160601"/>
                </a:lnTo>
                <a:lnTo>
                  <a:pt x="3660212" y="2511194"/>
                </a:lnTo>
                <a:lnTo>
                  <a:pt x="6155066" y="0"/>
                </a:lnTo>
                <a:lnTo>
                  <a:pt x="3409153" y="1"/>
                </a:lnTo>
                <a:lnTo>
                  <a:pt x="2283630" y="1123035"/>
                </a:lnTo>
                <a:lnTo>
                  <a:pt x="1160925" y="1"/>
                </a:lnTo>
                <a:lnTo>
                  <a:pt x="340" y="220"/>
                </a:lnTo>
                <a:close/>
              </a:path>
            </a:pathLst>
          </a:custGeom>
          <a:solidFill>
            <a:srgbClr val="CED84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de-DE" sz="3500" b="1">
                <a:solidFill>
                  <a:srgbClr val="013C74"/>
                </a:solidFill>
              </a:rPr>
              <a:t>Wir gestalten Energieversorgung. </a:t>
            </a:r>
          </a:p>
          <a:p>
            <a:pPr algn="l">
              <a:lnSpc>
                <a:spcPct val="90000"/>
              </a:lnSpc>
              <a:spcAft>
                <a:spcPts val="0"/>
              </a:spcAft>
            </a:pPr>
            <a:r>
              <a:rPr lang="de-DE" sz="3500" b="1">
                <a:solidFill>
                  <a:srgbClr val="013C74"/>
                </a:solidFill>
              </a:rPr>
              <a:t>Heute und im Energiemix der Zukunft.</a:t>
            </a:r>
          </a:p>
        </p:txBody>
      </p:sp>
    </p:spTree>
    <p:extLst>
      <p:ext uri="{BB962C8B-B14F-4D97-AF65-F5344CB8AC3E}">
        <p14:creationId xmlns:p14="http://schemas.microsoft.com/office/powerpoint/2010/main" val="11941129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chlussfolie 3">
    <p:bg>
      <p:bgPr>
        <a:solidFill>
          <a:srgbClr val="C9E8FB"/>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CC3AC137-51D1-40B5-BB7E-B1F88ECD86AD}"/>
              </a:ext>
            </a:extLst>
          </p:cNvPr>
          <p:cNvSpPr/>
          <p:nvPr userDrawn="1"/>
        </p:nvSpPr>
        <p:spPr>
          <a:xfrm>
            <a:off x="1371622" y="671461"/>
            <a:ext cx="7772378" cy="4472039"/>
          </a:xfrm>
          <a:custGeom>
            <a:avLst/>
            <a:gdLst>
              <a:gd name="connsiteX0" fmla="*/ 5697195 w 7772378"/>
              <a:gd name="connsiteY0" fmla="*/ 0 h 4472039"/>
              <a:gd name="connsiteX1" fmla="*/ 7713796 w 7772378"/>
              <a:gd name="connsiteY1" fmla="*/ 355890 h 4472039"/>
              <a:gd name="connsiteX2" fmla="*/ 7772378 w 7772378"/>
              <a:gd name="connsiteY2" fmla="*/ 378988 h 4472039"/>
              <a:gd name="connsiteX3" fmla="*/ 7772378 w 7772378"/>
              <a:gd name="connsiteY3" fmla="*/ 2017185 h 4472039"/>
              <a:gd name="connsiteX4" fmla="*/ 7592271 w 7772378"/>
              <a:gd name="connsiteY4" fmla="*/ 1924939 h 4472039"/>
              <a:gd name="connsiteX5" fmla="*/ 5697195 w 7772378"/>
              <a:gd name="connsiteY5" fmla="*/ 1493896 h 4472039"/>
              <a:gd name="connsiteX6" fmla="*/ 1669548 w 7772378"/>
              <a:gd name="connsiteY6" fmla="*/ 4163600 h 4472039"/>
              <a:gd name="connsiteX7" fmla="*/ 1556658 w 7772378"/>
              <a:gd name="connsiteY7" fmla="*/ 4472039 h 4472039"/>
              <a:gd name="connsiteX8" fmla="*/ 0 w 7772378"/>
              <a:gd name="connsiteY8" fmla="*/ 4472039 h 4472039"/>
              <a:gd name="connsiteX9" fmla="*/ 16793 w 7772378"/>
              <a:gd name="connsiteY9" fmla="*/ 4399283 h 4472039"/>
              <a:gd name="connsiteX10" fmla="*/ 5697195 w 7772378"/>
              <a:gd name="connsiteY10" fmla="*/ 0 h 447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2378" h="4472039">
                <a:moveTo>
                  <a:pt x="5697195" y="0"/>
                </a:moveTo>
                <a:cubicBezTo>
                  <a:pt x="6405765" y="0"/>
                  <a:pt x="7084987" y="125652"/>
                  <a:pt x="7713796" y="355890"/>
                </a:cubicBezTo>
                <a:lnTo>
                  <a:pt x="7772378" y="378988"/>
                </a:lnTo>
                <a:lnTo>
                  <a:pt x="7772378" y="2017185"/>
                </a:lnTo>
                <a:lnTo>
                  <a:pt x="7592271" y="1924939"/>
                </a:lnTo>
                <a:cubicBezTo>
                  <a:pt x="7018982" y="1648701"/>
                  <a:pt x="6376167" y="1493896"/>
                  <a:pt x="5697195" y="1493896"/>
                </a:cubicBezTo>
                <a:cubicBezTo>
                  <a:pt x="3886604" y="1493896"/>
                  <a:pt x="2333125" y="2594727"/>
                  <a:pt x="1669548" y="4163600"/>
                </a:cubicBezTo>
                <a:lnTo>
                  <a:pt x="1556658" y="4472039"/>
                </a:lnTo>
                <a:lnTo>
                  <a:pt x="0" y="4472039"/>
                </a:lnTo>
                <a:lnTo>
                  <a:pt x="16793" y="4399283"/>
                </a:lnTo>
                <a:cubicBezTo>
                  <a:pt x="667704" y="1869396"/>
                  <a:pt x="2964139" y="0"/>
                  <a:pt x="5697195" y="0"/>
                </a:cubicBezTo>
                <a:close/>
              </a:path>
            </a:pathLst>
          </a:custGeom>
          <a:solidFill>
            <a:srgbClr val="82C5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de-DE" sz="3500" b="1">
                <a:solidFill>
                  <a:srgbClr val="013C74"/>
                </a:solidFill>
              </a:rPr>
              <a:t>Wir gestalten Energieversorgung. </a:t>
            </a:r>
          </a:p>
          <a:p>
            <a:pPr algn="l">
              <a:lnSpc>
                <a:spcPct val="90000"/>
              </a:lnSpc>
              <a:spcAft>
                <a:spcPts val="0"/>
              </a:spcAft>
            </a:pPr>
            <a:r>
              <a:rPr lang="de-DE" sz="3500" b="1">
                <a:solidFill>
                  <a:srgbClr val="013C74"/>
                </a:solidFill>
              </a:rPr>
              <a:t>Heute und im Energiemix der Zukunft.</a:t>
            </a:r>
          </a:p>
        </p:txBody>
      </p:sp>
    </p:spTree>
    <p:extLst>
      <p:ext uri="{BB962C8B-B14F-4D97-AF65-F5344CB8AC3E}">
        <p14:creationId xmlns:p14="http://schemas.microsoft.com/office/powerpoint/2010/main" val="18772654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chlussfolie 1 englisch">
    <p:bg>
      <p:bgPr>
        <a:solidFill>
          <a:srgbClr val="35AEB5"/>
        </a:solidFill>
        <a:effectLst/>
      </p:bgPr>
    </p:bg>
    <p:spTree>
      <p:nvGrpSpPr>
        <p:cNvPr id="1" name=""/>
        <p:cNvGrpSpPr/>
        <p:nvPr/>
      </p:nvGrpSpPr>
      <p:grpSpPr>
        <a:xfrm>
          <a:off x="0" y="0"/>
          <a:ext cx="0" cy="0"/>
          <a:chOff x="0" y="0"/>
          <a:chExt cx="0" cy="0"/>
        </a:xfrm>
      </p:grpSpPr>
      <p:sp>
        <p:nvSpPr>
          <p:cNvPr id="3" name="Freihandform: Form 2">
            <a:extLst>
              <a:ext uri="{FF2B5EF4-FFF2-40B4-BE49-F238E27FC236}">
                <a16:creationId xmlns:a16="http://schemas.microsoft.com/office/drawing/2014/main" id="{9482E918-0F74-4CDA-969D-04F2DCBBEE3E}"/>
              </a:ext>
            </a:extLst>
          </p:cNvPr>
          <p:cNvSpPr>
            <a:spLocks/>
          </p:cNvSpPr>
          <p:nvPr userDrawn="1"/>
        </p:nvSpPr>
        <p:spPr>
          <a:xfrm>
            <a:off x="1" y="1"/>
            <a:ext cx="5356555" cy="4468854"/>
          </a:xfrm>
          <a:custGeom>
            <a:avLst/>
            <a:gdLst>
              <a:gd name="connsiteX0" fmla="*/ 0 w 5356555"/>
              <a:gd name="connsiteY0" fmla="*/ 0 h 4468854"/>
              <a:gd name="connsiteX1" fmla="*/ 5147548 w 5356555"/>
              <a:gd name="connsiteY1" fmla="*/ 0 h 4468854"/>
              <a:gd name="connsiteX2" fmla="*/ 5207358 w 5356555"/>
              <a:gd name="connsiteY2" fmla="*/ 163413 h 4468854"/>
              <a:gd name="connsiteX3" fmla="*/ 5356555 w 5356555"/>
              <a:gd name="connsiteY3" fmla="*/ 1150261 h 4468854"/>
              <a:gd name="connsiteX4" fmla="*/ 2037962 w 5356555"/>
              <a:gd name="connsiteY4" fmla="*/ 4468854 h 4468854"/>
              <a:gd name="connsiteX5" fmla="*/ 182505 w 5356555"/>
              <a:gd name="connsiteY5" fmla="*/ 3902091 h 4468854"/>
              <a:gd name="connsiteX6" fmla="*/ 0 w 5356555"/>
              <a:gd name="connsiteY6" fmla="*/ 3765616 h 4468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6555" h="4468854">
                <a:moveTo>
                  <a:pt x="0" y="0"/>
                </a:moveTo>
                <a:lnTo>
                  <a:pt x="5147548" y="0"/>
                </a:lnTo>
                <a:lnTo>
                  <a:pt x="5207358" y="163413"/>
                </a:lnTo>
                <a:cubicBezTo>
                  <a:pt x="5304321" y="475158"/>
                  <a:pt x="5356555" y="806610"/>
                  <a:pt x="5356555" y="1150261"/>
                </a:cubicBezTo>
                <a:cubicBezTo>
                  <a:pt x="5356555" y="2983069"/>
                  <a:pt x="3870770" y="4468854"/>
                  <a:pt x="2037962" y="4468854"/>
                </a:cubicBezTo>
                <a:cubicBezTo>
                  <a:pt x="1350659" y="4468854"/>
                  <a:pt x="712156" y="4259916"/>
                  <a:pt x="182505" y="3902091"/>
                </a:cubicBezTo>
                <a:lnTo>
                  <a:pt x="0" y="3765616"/>
                </a:lnTo>
                <a:close/>
              </a:path>
            </a:pathLst>
          </a:custGeom>
          <a:solidFill>
            <a:srgbClr val="FFEF1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e-DE">
              <a:solidFill>
                <a:schemeClr val="bg1">
                  <a:lumMod val="75000"/>
                </a:schemeClr>
              </a:solidFill>
            </a:endParaRPr>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en-US" sz="3500" b="1" noProof="0">
                <a:solidFill>
                  <a:srgbClr val="013C74"/>
                </a:solidFill>
              </a:rPr>
              <a:t>We enable energy supply. Today and </a:t>
            </a:r>
          </a:p>
          <a:p>
            <a:pPr algn="l">
              <a:lnSpc>
                <a:spcPct val="90000"/>
              </a:lnSpc>
              <a:spcAft>
                <a:spcPts val="0"/>
              </a:spcAft>
            </a:pPr>
            <a:r>
              <a:rPr lang="en-US" sz="3500" b="1" noProof="0">
                <a:solidFill>
                  <a:srgbClr val="013C74"/>
                </a:solidFill>
              </a:rPr>
              <a:t>in the energy mix of the future.</a:t>
            </a:r>
          </a:p>
        </p:txBody>
      </p:sp>
    </p:spTree>
    <p:extLst>
      <p:ext uri="{BB962C8B-B14F-4D97-AF65-F5344CB8AC3E}">
        <p14:creationId xmlns:p14="http://schemas.microsoft.com/office/powerpoint/2010/main" val="2353019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chlussfolie 2 englisch">
    <p:bg>
      <p:bgPr>
        <a:solidFill>
          <a:srgbClr val="FFFFFF"/>
        </a:solidFill>
        <a:effectLst/>
      </p:bgPr>
    </p:bg>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713CFA56-7310-44DC-A920-21516188D864}"/>
              </a:ext>
            </a:extLst>
          </p:cNvPr>
          <p:cNvSpPr/>
          <p:nvPr userDrawn="1"/>
        </p:nvSpPr>
        <p:spPr>
          <a:xfrm>
            <a:off x="-230" y="-220"/>
            <a:ext cx="6300395" cy="5148000"/>
          </a:xfrm>
          <a:custGeom>
            <a:avLst/>
            <a:gdLst>
              <a:gd name="connsiteX0" fmla="*/ 0 w 6295293"/>
              <a:gd name="connsiteY0" fmla="*/ 0 h 5169877"/>
              <a:gd name="connsiteX1" fmla="*/ 0 w 6295293"/>
              <a:gd name="connsiteY1" fmla="*/ 1610751 h 5169877"/>
              <a:gd name="connsiteX2" fmla="*/ 921434 w 6295293"/>
              <a:gd name="connsiteY2" fmla="*/ 2525151 h 5169877"/>
              <a:gd name="connsiteX3" fmla="*/ 7034 w 6295293"/>
              <a:gd name="connsiteY3" fmla="*/ 3425484 h 5169877"/>
              <a:gd name="connsiteX4" fmla="*/ 7034 w 6295293"/>
              <a:gd name="connsiteY4" fmla="*/ 5169877 h 5169877"/>
              <a:gd name="connsiteX5" fmla="*/ 1026942 w 6295293"/>
              <a:gd name="connsiteY5" fmla="*/ 5169877 h 5169877"/>
              <a:gd name="connsiteX6" fmla="*/ 2293034 w 6295293"/>
              <a:gd name="connsiteY6" fmla="*/ 3889717 h 5169877"/>
              <a:gd name="connsiteX7" fmla="*/ 3566160 w 6295293"/>
              <a:gd name="connsiteY7" fmla="*/ 5169877 h 5169877"/>
              <a:gd name="connsiteX8" fmla="*/ 6295293 w 6295293"/>
              <a:gd name="connsiteY8" fmla="*/ 5169877 h 5169877"/>
              <a:gd name="connsiteX9" fmla="*/ 3664634 w 6295293"/>
              <a:gd name="connsiteY9" fmla="*/ 2518117 h 5169877"/>
              <a:gd name="connsiteX10" fmla="*/ 6147582 w 6295293"/>
              <a:gd name="connsiteY10" fmla="*/ 14068 h 5169877"/>
              <a:gd name="connsiteX11" fmla="*/ 3425483 w 6295293"/>
              <a:gd name="connsiteY11" fmla="*/ 14068 h 5169877"/>
              <a:gd name="connsiteX12" fmla="*/ 2307102 w 6295293"/>
              <a:gd name="connsiteY12" fmla="*/ 1139484 h 5169877"/>
              <a:gd name="connsiteX13" fmla="*/ 1160585 w 6295293"/>
              <a:gd name="connsiteY13" fmla="*/ 14068 h 5169877"/>
              <a:gd name="connsiteX14" fmla="*/ 0 w 6295293"/>
              <a:gd name="connsiteY14" fmla="*/ 0 h 5169877"/>
              <a:gd name="connsiteX0" fmla="*/ 9525 w 6295293"/>
              <a:gd name="connsiteY0" fmla="*/ 4982 h 5155809"/>
              <a:gd name="connsiteX1" fmla="*/ 0 w 6295293"/>
              <a:gd name="connsiteY1" fmla="*/ 1596683 h 5155809"/>
              <a:gd name="connsiteX2" fmla="*/ 921434 w 6295293"/>
              <a:gd name="connsiteY2" fmla="*/ 2511083 h 5155809"/>
              <a:gd name="connsiteX3" fmla="*/ 7034 w 6295293"/>
              <a:gd name="connsiteY3" fmla="*/ 3411416 h 5155809"/>
              <a:gd name="connsiteX4" fmla="*/ 7034 w 6295293"/>
              <a:gd name="connsiteY4" fmla="*/ 5155809 h 5155809"/>
              <a:gd name="connsiteX5" fmla="*/ 1026942 w 6295293"/>
              <a:gd name="connsiteY5" fmla="*/ 5155809 h 5155809"/>
              <a:gd name="connsiteX6" fmla="*/ 2293034 w 6295293"/>
              <a:gd name="connsiteY6" fmla="*/ 3875649 h 5155809"/>
              <a:gd name="connsiteX7" fmla="*/ 3566160 w 6295293"/>
              <a:gd name="connsiteY7" fmla="*/ 5155809 h 5155809"/>
              <a:gd name="connsiteX8" fmla="*/ 6295293 w 6295293"/>
              <a:gd name="connsiteY8" fmla="*/ 5155809 h 5155809"/>
              <a:gd name="connsiteX9" fmla="*/ 3664634 w 6295293"/>
              <a:gd name="connsiteY9" fmla="*/ 2504049 h 5155809"/>
              <a:gd name="connsiteX10" fmla="*/ 6147582 w 6295293"/>
              <a:gd name="connsiteY10" fmla="*/ 0 h 5155809"/>
              <a:gd name="connsiteX11" fmla="*/ 3425483 w 6295293"/>
              <a:gd name="connsiteY11" fmla="*/ 0 h 5155809"/>
              <a:gd name="connsiteX12" fmla="*/ 2307102 w 6295293"/>
              <a:gd name="connsiteY12" fmla="*/ 1125416 h 5155809"/>
              <a:gd name="connsiteX13" fmla="*/ 1160585 w 6295293"/>
              <a:gd name="connsiteY13" fmla="*/ 0 h 5155809"/>
              <a:gd name="connsiteX14" fmla="*/ 9525 w 6295293"/>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53551 w 6288259"/>
              <a:gd name="connsiteY13" fmla="*/ 0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300068 w 6288259"/>
              <a:gd name="connsiteY12" fmla="*/ 1125416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0 w 6288259"/>
              <a:gd name="connsiteY3" fmla="*/ 3411416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5809"/>
              <a:gd name="connsiteX1" fmla="*/ 4873 w 6288259"/>
              <a:gd name="connsiteY1" fmla="*/ 1603827 h 5155809"/>
              <a:gd name="connsiteX2" fmla="*/ 914400 w 6288259"/>
              <a:gd name="connsiteY2" fmla="*/ 2511083 h 5155809"/>
              <a:gd name="connsiteX3" fmla="*/ 2381 w 6288259"/>
              <a:gd name="connsiteY3" fmla="*/ 3420941 h 5155809"/>
              <a:gd name="connsiteX4" fmla="*/ 0 w 6288259"/>
              <a:gd name="connsiteY4" fmla="*/ 5155809 h 5155809"/>
              <a:gd name="connsiteX5" fmla="*/ 1019908 w 6288259"/>
              <a:gd name="connsiteY5" fmla="*/ 5155809 h 5155809"/>
              <a:gd name="connsiteX6" fmla="*/ 2286000 w 6288259"/>
              <a:gd name="connsiteY6" fmla="*/ 3875649 h 5155809"/>
              <a:gd name="connsiteX7" fmla="*/ 3559126 w 6288259"/>
              <a:gd name="connsiteY7" fmla="*/ 5155809 h 5155809"/>
              <a:gd name="connsiteX8" fmla="*/ 6288259 w 6288259"/>
              <a:gd name="connsiteY8" fmla="*/ 5155809 h 5155809"/>
              <a:gd name="connsiteX9" fmla="*/ 3657600 w 6288259"/>
              <a:gd name="connsiteY9" fmla="*/ 2504049 h 5155809"/>
              <a:gd name="connsiteX10" fmla="*/ 6140548 w 6288259"/>
              <a:gd name="connsiteY10" fmla="*/ 0 h 5155809"/>
              <a:gd name="connsiteX11" fmla="*/ 3418449 w 6288259"/>
              <a:gd name="connsiteY11" fmla="*/ 0 h 5155809"/>
              <a:gd name="connsiteX12" fmla="*/ 2285781 w 6288259"/>
              <a:gd name="connsiteY12" fmla="*/ 1134941 h 5155809"/>
              <a:gd name="connsiteX13" fmla="*/ 1160695 w 6288259"/>
              <a:gd name="connsiteY13" fmla="*/ 2381 h 5155809"/>
              <a:gd name="connsiteX14" fmla="*/ 2491 w 6288259"/>
              <a:gd name="connsiteY14" fmla="*/ 4982 h 5155809"/>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27051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6000 w 6288259"/>
              <a:gd name="connsiteY6" fmla="*/ 3875649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9126 w 6288259"/>
              <a:gd name="connsiteY7" fmla="*/ 5155809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8259"/>
              <a:gd name="connsiteY0" fmla="*/ 4982 h 5158190"/>
              <a:gd name="connsiteX1" fmla="*/ 4873 w 6288259"/>
              <a:gd name="connsiteY1" fmla="*/ 1603827 h 5158190"/>
              <a:gd name="connsiteX2" fmla="*/ 914400 w 6288259"/>
              <a:gd name="connsiteY2" fmla="*/ 2511083 h 5158190"/>
              <a:gd name="connsiteX3" fmla="*/ 2381 w 6288259"/>
              <a:gd name="connsiteY3" fmla="*/ 3420941 h 5158190"/>
              <a:gd name="connsiteX4" fmla="*/ 0 w 6288259"/>
              <a:gd name="connsiteY4" fmla="*/ 5155809 h 5158190"/>
              <a:gd name="connsiteX5" fmla="*/ 1019908 w 6288259"/>
              <a:gd name="connsiteY5" fmla="*/ 5158190 h 5158190"/>
              <a:gd name="connsiteX6" fmla="*/ 2288381 w 6288259"/>
              <a:gd name="connsiteY6" fmla="*/ 3885174 h 5158190"/>
              <a:gd name="connsiteX7" fmla="*/ 3551982 w 6288259"/>
              <a:gd name="connsiteY7" fmla="*/ 5153427 h 5158190"/>
              <a:gd name="connsiteX8" fmla="*/ 6288259 w 6288259"/>
              <a:gd name="connsiteY8" fmla="*/ 5155809 h 5158190"/>
              <a:gd name="connsiteX9" fmla="*/ 3657600 w 6288259"/>
              <a:gd name="connsiteY9" fmla="*/ 2504049 h 5158190"/>
              <a:gd name="connsiteX10" fmla="*/ 6140548 w 6288259"/>
              <a:gd name="connsiteY10" fmla="*/ 0 h 5158190"/>
              <a:gd name="connsiteX11" fmla="*/ 3418449 w 6288259"/>
              <a:gd name="connsiteY11" fmla="*/ 0 h 5158190"/>
              <a:gd name="connsiteX12" fmla="*/ 2285781 w 6288259"/>
              <a:gd name="connsiteY12" fmla="*/ 1134941 h 5158190"/>
              <a:gd name="connsiteX13" fmla="*/ 1160695 w 6288259"/>
              <a:gd name="connsiteY13" fmla="*/ 2381 h 5158190"/>
              <a:gd name="connsiteX14" fmla="*/ 2491 w 6288259"/>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7600 w 6285878"/>
              <a:gd name="connsiteY9" fmla="*/ 2504049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40548 w 6285878"/>
              <a:gd name="connsiteY10" fmla="*/ 0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4982 h 5158190"/>
              <a:gd name="connsiteX1" fmla="*/ 4873 w 6285878"/>
              <a:gd name="connsiteY1" fmla="*/ 1603827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18449 w 6285878"/>
              <a:gd name="connsiteY11" fmla="*/ 0 h 5158190"/>
              <a:gd name="connsiteX12" fmla="*/ 2285781 w 6285878"/>
              <a:gd name="connsiteY12" fmla="*/ 1134941 h 5158190"/>
              <a:gd name="connsiteX13" fmla="*/ 1160695 w 6285878"/>
              <a:gd name="connsiteY13" fmla="*/ 2381 h 5158190"/>
              <a:gd name="connsiteX14" fmla="*/ 2491 w 6285878"/>
              <a:gd name="connsiteY14" fmla="*/ 4982 h 5158190"/>
              <a:gd name="connsiteX0" fmla="*/ 2491 w 6285878"/>
              <a:gd name="connsiteY0" fmla="*/ 2601 h 5155809"/>
              <a:gd name="connsiteX1" fmla="*/ 4873 w 6285878"/>
              <a:gd name="connsiteY1" fmla="*/ 1601446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7255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5781 w 6285878"/>
              <a:gd name="connsiteY12" fmla="*/ 1132560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11305 w 6285878"/>
              <a:gd name="connsiteY11" fmla="*/ 2381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2601 h 5155809"/>
              <a:gd name="connsiteX1" fmla="*/ 2492 w 6285878"/>
              <a:gd name="connsiteY1" fmla="*/ 1599065 h 5155809"/>
              <a:gd name="connsiteX2" fmla="*/ 914400 w 6285878"/>
              <a:gd name="connsiteY2" fmla="*/ 2508702 h 5155809"/>
              <a:gd name="connsiteX3" fmla="*/ 2381 w 6285878"/>
              <a:gd name="connsiteY3" fmla="*/ 3418560 h 5155809"/>
              <a:gd name="connsiteX4" fmla="*/ 0 w 6285878"/>
              <a:gd name="connsiteY4" fmla="*/ 5153428 h 5155809"/>
              <a:gd name="connsiteX5" fmla="*/ 1019908 w 6285878"/>
              <a:gd name="connsiteY5" fmla="*/ 5155809 h 5155809"/>
              <a:gd name="connsiteX6" fmla="*/ 2288381 w 6285878"/>
              <a:gd name="connsiteY6" fmla="*/ 3882793 h 5155809"/>
              <a:gd name="connsiteX7" fmla="*/ 3551982 w 6285878"/>
              <a:gd name="connsiteY7" fmla="*/ 5151046 h 5155809"/>
              <a:gd name="connsiteX8" fmla="*/ 6285878 w 6285878"/>
              <a:gd name="connsiteY8" fmla="*/ 5148665 h 5155809"/>
              <a:gd name="connsiteX9" fmla="*/ 3659982 w 6285878"/>
              <a:gd name="connsiteY9" fmla="*/ 2508812 h 5155809"/>
              <a:gd name="connsiteX10" fmla="*/ 6152455 w 6285878"/>
              <a:gd name="connsiteY10" fmla="*/ 0 h 5155809"/>
              <a:gd name="connsiteX11" fmla="*/ 3406542 w 6285878"/>
              <a:gd name="connsiteY11" fmla="*/ 0 h 5155809"/>
              <a:gd name="connsiteX12" fmla="*/ 2283400 w 6285878"/>
              <a:gd name="connsiteY12" fmla="*/ 1125416 h 5155809"/>
              <a:gd name="connsiteX13" fmla="*/ 1160695 w 6285878"/>
              <a:gd name="connsiteY13" fmla="*/ 0 h 5155809"/>
              <a:gd name="connsiteX14" fmla="*/ 2491 w 6285878"/>
              <a:gd name="connsiteY14" fmla="*/ 2601 h 5155809"/>
              <a:gd name="connsiteX0" fmla="*/ 2491 w 6285878"/>
              <a:gd name="connsiteY0" fmla="*/ 0 h 5157971"/>
              <a:gd name="connsiteX1" fmla="*/ 2492 w 6285878"/>
              <a:gd name="connsiteY1" fmla="*/ 1601227 h 5157971"/>
              <a:gd name="connsiteX2" fmla="*/ 914400 w 6285878"/>
              <a:gd name="connsiteY2" fmla="*/ 2510864 h 5157971"/>
              <a:gd name="connsiteX3" fmla="*/ 2381 w 6285878"/>
              <a:gd name="connsiteY3" fmla="*/ 3420722 h 5157971"/>
              <a:gd name="connsiteX4" fmla="*/ 0 w 6285878"/>
              <a:gd name="connsiteY4" fmla="*/ 5155590 h 5157971"/>
              <a:gd name="connsiteX5" fmla="*/ 1019908 w 6285878"/>
              <a:gd name="connsiteY5" fmla="*/ 5157971 h 5157971"/>
              <a:gd name="connsiteX6" fmla="*/ 2288381 w 6285878"/>
              <a:gd name="connsiteY6" fmla="*/ 3884955 h 5157971"/>
              <a:gd name="connsiteX7" fmla="*/ 3551982 w 6285878"/>
              <a:gd name="connsiteY7" fmla="*/ 5153208 h 5157971"/>
              <a:gd name="connsiteX8" fmla="*/ 6285878 w 6285878"/>
              <a:gd name="connsiteY8" fmla="*/ 5150827 h 5157971"/>
              <a:gd name="connsiteX9" fmla="*/ 3659982 w 6285878"/>
              <a:gd name="connsiteY9" fmla="*/ 2510974 h 5157971"/>
              <a:gd name="connsiteX10" fmla="*/ 6152455 w 6285878"/>
              <a:gd name="connsiteY10" fmla="*/ 2162 h 5157971"/>
              <a:gd name="connsiteX11" fmla="*/ 3406542 w 6285878"/>
              <a:gd name="connsiteY11" fmla="*/ 2162 h 5157971"/>
              <a:gd name="connsiteX12" fmla="*/ 2283400 w 6285878"/>
              <a:gd name="connsiteY12" fmla="*/ 1127578 h 5157971"/>
              <a:gd name="connsiteX13" fmla="*/ 1160695 w 6285878"/>
              <a:gd name="connsiteY13" fmla="*/ 2162 h 5157971"/>
              <a:gd name="connsiteX14" fmla="*/ 2491 w 6285878"/>
              <a:gd name="connsiteY14" fmla="*/ 0 h 5157971"/>
              <a:gd name="connsiteX0" fmla="*/ 2491 w 6285878"/>
              <a:gd name="connsiteY0" fmla="*/ 219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2491 w 6285878"/>
              <a:gd name="connsiteY14" fmla="*/ 219 h 5158190"/>
              <a:gd name="connsiteX0" fmla="*/ 110 w 6285878"/>
              <a:gd name="connsiteY0" fmla="*/ 2600 h 5158190"/>
              <a:gd name="connsiteX1" fmla="*/ 2492 w 6285878"/>
              <a:gd name="connsiteY1" fmla="*/ 1601446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600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600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7797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6542 w 6285878"/>
              <a:gd name="connsiteY11" fmla="*/ 2381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19 h 5158190"/>
              <a:gd name="connsiteX1" fmla="*/ 111 w 6285878"/>
              <a:gd name="connsiteY1" fmla="*/ 1599064 h 5158190"/>
              <a:gd name="connsiteX2" fmla="*/ 914400 w 6285878"/>
              <a:gd name="connsiteY2" fmla="*/ 2511083 h 5158190"/>
              <a:gd name="connsiteX3" fmla="*/ 2381 w 6285878"/>
              <a:gd name="connsiteY3" fmla="*/ 3420941 h 5158190"/>
              <a:gd name="connsiteX4" fmla="*/ 0 w 6285878"/>
              <a:gd name="connsiteY4" fmla="*/ 5155809 h 5158190"/>
              <a:gd name="connsiteX5" fmla="*/ 1019908 w 6285878"/>
              <a:gd name="connsiteY5" fmla="*/ 5158190 h 5158190"/>
              <a:gd name="connsiteX6" fmla="*/ 2288381 w 6285878"/>
              <a:gd name="connsiteY6" fmla="*/ 3885174 h 5158190"/>
              <a:gd name="connsiteX7" fmla="*/ 3551982 w 6285878"/>
              <a:gd name="connsiteY7" fmla="*/ 5153427 h 5158190"/>
              <a:gd name="connsiteX8" fmla="*/ 6285878 w 6285878"/>
              <a:gd name="connsiteY8" fmla="*/ 5151046 h 5158190"/>
              <a:gd name="connsiteX9" fmla="*/ 3659982 w 6285878"/>
              <a:gd name="connsiteY9" fmla="*/ 2511193 h 5158190"/>
              <a:gd name="connsiteX10" fmla="*/ 6152455 w 6285878"/>
              <a:gd name="connsiteY10" fmla="*/ 2381 h 5158190"/>
              <a:gd name="connsiteX11" fmla="*/ 3408923 w 6285878"/>
              <a:gd name="connsiteY11" fmla="*/ 0 h 5158190"/>
              <a:gd name="connsiteX12" fmla="*/ 2283400 w 6285878"/>
              <a:gd name="connsiteY12" fmla="*/ 1123034 h 5158190"/>
              <a:gd name="connsiteX13" fmla="*/ 1160695 w 6285878"/>
              <a:gd name="connsiteY13" fmla="*/ 0 h 5158190"/>
              <a:gd name="connsiteX14" fmla="*/ 110 w 6285878"/>
              <a:gd name="connsiteY14" fmla="*/ 219 h 5158190"/>
              <a:gd name="connsiteX0" fmla="*/ 110 w 6285878"/>
              <a:gd name="connsiteY0" fmla="*/ 220 h 5158191"/>
              <a:gd name="connsiteX1" fmla="*/ 111 w 6285878"/>
              <a:gd name="connsiteY1" fmla="*/ 1599065 h 5158191"/>
              <a:gd name="connsiteX2" fmla="*/ 914400 w 6285878"/>
              <a:gd name="connsiteY2" fmla="*/ 2511084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20942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110 w 6285878"/>
              <a:gd name="connsiteY0" fmla="*/ 220 h 5158191"/>
              <a:gd name="connsiteX1" fmla="*/ 111 w 6285878"/>
              <a:gd name="connsiteY1" fmla="*/ 1599065 h 5158191"/>
              <a:gd name="connsiteX2" fmla="*/ 909638 w 6285878"/>
              <a:gd name="connsiteY2" fmla="*/ 2508702 h 5158191"/>
              <a:gd name="connsiteX3" fmla="*/ 2381 w 6285878"/>
              <a:gd name="connsiteY3" fmla="*/ 3416179 h 5158191"/>
              <a:gd name="connsiteX4" fmla="*/ 0 w 6285878"/>
              <a:gd name="connsiteY4" fmla="*/ 5155810 h 5158191"/>
              <a:gd name="connsiteX5" fmla="*/ 1019908 w 6285878"/>
              <a:gd name="connsiteY5" fmla="*/ 5158191 h 5158191"/>
              <a:gd name="connsiteX6" fmla="*/ 2288381 w 6285878"/>
              <a:gd name="connsiteY6" fmla="*/ 3885175 h 5158191"/>
              <a:gd name="connsiteX7" fmla="*/ 3551982 w 6285878"/>
              <a:gd name="connsiteY7" fmla="*/ 5153428 h 5158191"/>
              <a:gd name="connsiteX8" fmla="*/ 6285878 w 6285878"/>
              <a:gd name="connsiteY8" fmla="*/ 5151047 h 5158191"/>
              <a:gd name="connsiteX9" fmla="*/ 3659982 w 6285878"/>
              <a:gd name="connsiteY9" fmla="*/ 2511194 h 5158191"/>
              <a:gd name="connsiteX10" fmla="*/ 6154836 w 6285878"/>
              <a:gd name="connsiteY10" fmla="*/ 0 h 5158191"/>
              <a:gd name="connsiteX11" fmla="*/ 3408923 w 6285878"/>
              <a:gd name="connsiteY11" fmla="*/ 1 h 5158191"/>
              <a:gd name="connsiteX12" fmla="*/ 2283400 w 6285878"/>
              <a:gd name="connsiteY12" fmla="*/ 1123035 h 5158191"/>
              <a:gd name="connsiteX13" fmla="*/ 1160695 w 6285878"/>
              <a:gd name="connsiteY13" fmla="*/ 1 h 5158191"/>
              <a:gd name="connsiteX14" fmla="*/ 110 w 628587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5175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191"/>
              <a:gd name="connsiteX1" fmla="*/ 341 w 6286108"/>
              <a:gd name="connsiteY1" fmla="*/ 1599065 h 5158191"/>
              <a:gd name="connsiteX2" fmla="*/ 909868 w 6286108"/>
              <a:gd name="connsiteY2" fmla="*/ 2508702 h 5158191"/>
              <a:gd name="connsiteX3" fmla="*/ 229 w 6286108"/>
              <a:gd name="connsiteY3" fmla="*/ 3418560 h 5158191"/>
              <a:gd name="connsiteX4" fmla="*/ 230 w 6286108"/>
              <a:gd name="connsiteY4" fmla="*/ 5155810 h 5158191"/>
              <a:gd name="connsiteX5" fmla="*/ 1020138 w 6286108"/>
              <a:gd name="connsiteY5" fmla="*/ 5158191 h 5158191"/>
              <a:gd name="connsiteX6" fmla="*/ 2288611 w 6286108"/>
              <a:gd name="connsiteY6" fmla="*/ 3889951 h 5158191"/>
              <a:gd name="connsiteX7" fmla="*/ 3552212 w 6286108"/>
              <a:gd name="connsiteY7" fmla="*/ 5153428 h 5158191"/>
              <a:gd name="connsiteX8" fmla="*/ 6286108 w 6286108"/>
              <a:gd name="connsiteY8" fmla="*/ 5151047 h 5158191"/>
              <a:gd name="connsiteX9" fmla="*/ 3660212 w 6286108"/>
              <a:gd name="connsiteY9" fmla="*/ 2511194 h 5158191"/>
              <a:gd name="connsiteX10" fmla="*/ 6155066 w 6286108"/>
              <a:gd name="connsiteY10" fmla="*/ 0 h 5158191"/>
              <a:gd name="connsiteX11" fmla="*/ 3409153 w 6286108"/>
              <a:gd name="connsiteY11" fmla="*/ 1 h 5158191"/>
              <a:gd name="connsiteX12" fmla="*/ 2283630 w 6286108"/>
              <a:gd name="connsiteY12" fmla="*/ 1123035 h 5158191"/>
              <a:gd name="connsiteX13" fmla="*/ 1160925 w 6286108"/>
              <a:gd name="connsiteY13" fmla="*/ 1 h 5158191"/>
              <a:gd name="connsiteX14" fmla="*/ 340 w 6286108"/>
              <a:gd name="connsiteY14" fmla="*/ 220 h 5158191"/>
              <a:gd name="connsiteX0" fmla="*/ 340 w 6286108"/>
              <a:gd name="connsiteY0" fmla="*/ 220 h 5158204"/>
              <a:gd name="connsiteX1" fmla="*/ 341 w 6286108"/>
              <a:gd name="connsiteY1" fmla="*/ 1599065 h 5158204"/>
              <a:gd name="connsiteX2" fmla="*/ 909868 w 6286108"/>
              <a:gd name="connsiteY2" fmla="*/ 2508702 h 5158204"/>
              <a:gd name="connsiteX3" fmla="*/ 229 w 6286108"/>
              <a:gd name="connsiteY3" fmla="*/ 3418560 h 5158204"/>
              <a:gd name="connsiteX4" fmla="*/ 230 w 6286108"/>
              <a:gd name="connsiteY4" fmla="*/ 5155810 h 5158204"/>
              <a:gd name="connsiteX5" fmla="*/ 1020138 w 6286108"/>
              <a:gd name="connsiteY5" fmla="*/ 5158191 h 5158204"/>
              <a:gd name="connsiteX6" fmla="*/ 2288611 w 6286108"/>
              <a:gd name="connsiteY6" fmla="*/ 3889951 h 5158204"/>
              <a:gd name="connsiteX7" fmla="*/ 3547449 w 6286108"/>
              <a:gd name="connsiteY7" fmla="*/ 5158204 h 5158204"/>
              <a:gd name="connsiteX8" fmla="*/ 6286108 w 6286108"/>
              <a:gd name="connsiteY8" fmla="*/ 5151047 h 5158204"/>
              <a:gd name="connsiteX9" fmla="*/ 3660212 w 6286108"/>
              <a:gd name="connsiteY9" fmla="*/ 2511194 h 5158204"/>
              <a:gd name="connsiteX10" fmla="*/ 6155066 w 6286108"/>
              <a:gd name="connsiteY10" fmla="*/ 0 h 5158204"/>
              <a:gd name="connsiteX11" fmla="*/ 3409153 w 6286108"/>
              <a:gd name="connsiteY11" fmla="*/ 1 h 5158204"/>
              <a:gd name="connsiteX12" fmla="*/ 2283630 w 6286108"/>
              <a:gd name="connsiteY12" fmla="*/ 1123035 h 5158204"/>
              <a:gd name="connsiteX13" fmla="*/ 1160925 w 6286108"/>
              <a:gd name="connsiteY13" fmla="*/ 1 h 5158204"/>
              <a:gd name="connsiteX14" fmla="*/ 340 w 6286108"/>
              <a:gd name="connsiteY14" fmla="*/ 220 h 5158204"/>
              <a:gd name="connsiteX0" fmla="*/ 340 w 6293252"/>
              <a:gd name="connsiteY0" fmla="*/ 220 h 5158204"/>
              <a:gd name="connsiteX1" fmla="*/ 341 w 6293252"/>
              <a:gd name="connsiteY1" fmla="*/ 1599065 h 5158204"/>
              <a:gd name="connsiteX2" fmla="*/ 909868 w 6293252"/>
              <a:gd name="connsiteY2" fmla="*/ 2508702 h 5158204"/>
              <a:gd name="connsiteX3" fmla="*/ 229 w 6293252"/>
              <a:gd name="connsiteY3" fmla="*/ 3418560 h 5158204"/>
              <a:gd name="connsiteX4" fmla="*/ 230 w 6293252"/>
              <a:gd name="connsiteY4" fmla="*/ 5155810 h 5158204"/>
              <a:gd name="connsiteX5" fmla="*/ 1020138 w 6293252"/>
              <a:gd name="connsiteY5" fmla="*/ 5158191 h 5158204"/>
              <a:gd name="connsiteX6" fmla="*/ 2288611 w 6293252"/>
              <a:gd name="connsiteY6" fmla="*/ 3889951 h 5158204"/>
              <a:gd name="connsiteX7" fmla="*/ 3547449 w 6293252"/>
              <a:gd name="connsiteY7" fmla="*/ 5158204 h 5158204"/>
              <a:gd name="connsiteX8" fmla="*/ 6293252 w 6293252"/>
              <a:gd name="connsiteY8" fmla="*/ 5153434 h 5158204"/>
              <a:gd name="connsiteX9" fmla="*/ 3660212 w 6293252"/>
              <a:gd name="connsiteY9" fmla="*/ 2511194 h 5158204"/>
              <a:gd name="connsiteX10" fmla="*/ 6155066 w 6293252"/>
              <a:gd name="connsiteY10" fmla="*/ 0 h 5158204"/>
              <a:gd name="connsiteX11" fmla="*/ 3409153 w 6293252"/>
              <a:gd name="connsiteY11" fmla="*/ 1 h 5158204"/>
              <a:gd name="connsiteX12" fmla="*/ 2283630 w 6293252"/>
              <a:gd name="connsiteY12" fmla="*/ 1123035 h 5158204"/>
              <a:gd name="connsiteX13" fmla="*/ 1160925 w 6293252"/>
              <a:gd name="connsiteY13" fmla="*/ 1 h 5158204"/>
              <a:gd name="connsiteX14" fmla="*/ 340 w 6293252"/>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8611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58204"/>
              <a:gd name="connsiteX1" fmla="*/ 341 w 6298014"/>
              <a:gd name="connsiteY1" fmla="*/ 1599065 h 5158204"/>
              <a:gd name="connsiteX2" fmla="*/ 909868 w 6298014"/>
              <a:gd name="connsiteY2" fmla="*/ 2508702 h 5158204"/>
              <a:gd name="connsiteX3" fmla="*/ 229 w 6298014"/>
              <a:gd name="connsiteY3" fmla="*/ 3418560 h 5158204"/>
              <a:gd name="connsiteX4" fmla="*/ 230 w 6298014"/>
              <a:gd name="connsiteY4" fmla="*/ 5155810 h 5158204"/>
              <a:gd name="connsiteX5" fmla="*/ 1020138 w 6298014"/>
              <a:gd name="connsiteY5" fmla="*/ 5158191 h 5158204"/>
              <a:gd name="connsiteX6" fmla="*/ 2283848 w 6298014"/>
              <a:gd name="connsiteY6" fmla="*/ 3889951 h 5158204"/>
              <a:gd name="connsiteX7" fmla="*/ 3547449 w 6298014"/>
              <a:gd name="connsiteY7" fmla="*/ 5158204 h 5158204"/>
              <a:gd name="connsiteX8" fmla="*/ 6298014 w 6298014"/>
              <a:gd name="connsiteY8" fmla="*/ 5155822 h 5158204"/>
              <a:gd name="connsiteX9" fmla="*/ 3660212 w 6298014"/>
              <a:gd name="connsiteY9" fmla="*/ 2511194 h 5158204"/>
              <a:gd name="connsiteX10" fmla="*/ 6155066 w 6298014"/>
              <a:gd name="connsiteY10" fmla="*/ 0 h 5158204"/>
              <a:gd name="connsiteX11" fmla="*/ 3409153 w 6298014"/>
              <a:gd name="connsiteY11" fmla="*/ 1 h 5158204"/>
              <a:gd name="connsiteX12" fmla="*/ 2283630 w 6298014"/>
              <a:gd name="connsiteY12" fmla="*/ 1123035 h 5158204"/>
              <a:gd name="connsiteX13" fmla="*/ 1160925 w 6298014"/>
              <a:gd name="connsiteY13" fmla="*/ 1 h 5158204"/>
              <a:gd name="connsiteX14" fmla="*/ 340 w 6298014"/>
              <a:gd name="connsiteY14" fmla="*/ 220 h 5158204"/>
              <a:gd name="connsiteX0" fmla="*/ 340 w 6298014"/>
              <a:gd name="connsiteY0" fmla="*/ 220 h 5160591"/>
              <a:gd name="connsiteX1" fmla="*/ 341 w 6298014"/>
              <a:gd name="connsiteY1" fmla="*/ 1599065 h 5160591"/>
              <a:gd name="connsiteX2" fmla="*/ 909868 w 6298014"/>
              <a:gd name="connsiteY2" fmla="*/ 2508702 h 5160591"/>
              <a:gd name="connsiteX3" fmla="*/ 229 w 6298014"/>
              <a:gd name="connsiteY3" fmla="*/ 3418560 h 5160591"/>
              <a:gd name="connsiteX4" fmla="*/ 230 w 6298014"/>
              <a:gd name="connsiteY4" fmla="*/ 5155810 h 5160591"/>
              <a:gd name="connsiteX5" fmla="*/ 1020138 w 6298014"/>
              <a:gd name="connsiteY5" fmla="*/ 5158191 h 5160591"/>
              <a:gd name="connsiteX6" fmla="*/ 2283848 w 6298014"/>
              <a:gd name="connsiteY6" fmla="*/ 3889951 h 5160591"/>
              <a:gd name="connsiteX7" fmla="*/ 3547449 w 6298014"/>
              <a:gd name="connsiteY7" fmla="*/ 5160591 h 5160591"/>
              <a:gd name="connsiteX8" fmla="*/ 6298014 w 6298014"/>
              <a:gd name="connsiteY8" fmla="*/ 5155822 h 5160591"/>
              <a:gd name="connsiteX9" fmla="*/ 3660212 w 6298014"/>
              <a:gd name="connsiteY9" fmla="*/ 2511194 h 5160591"/>
              <a:gd name="connsiteX10" fmla="*/ 6155066 w 6298014"/>
              <a:gd name="connsiteY10" fmla="*/ 0 h 5160591"/>
              <a:gd name="connsiteX11" fmla="*/ 3409153 w 6298014"/>
              <a:gd name="connsiteY11" fmla="*/ 1 h 5160591"/>
              <a:gd name="connsiteX12" fmla="*/ 2283630 w 6298014"/>
              <a:gd name="connsiteY12" fmla="*/ 1123035 h 5160591"/>
              <a:gd name="connsiteX13" fmla="*/ 1160925 w 6298014"/>
              <a:gd name="connsiteY13" fmla="*/ 1 h 5160591"/>
              <a:gd name="connsiteX14" fmla="*/ 340 w 6298014"/>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1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591"/>
              <a:gd name="connsiteX1" fmla="*/ 341 w 6300395"/>
              <a:gd name="connsiteY1" fmla="*/ 1599065 h 5160591"/>
              <a:gd name="connsiteX2" fmla="*/ 909868 w 6300395"/>
              <a:gd name="connsiteY2" fmla="*/ 2508702 h 5160591"/>
              <a:gd name="connsiteX3" fmla="*/ 229 w 6300395"/>
              <a:gd name="connsiteY3" fmla="*/ 3418560 h 5160591"/>
              <a:gd name="connsiteX4" fmla="*/ 230 w 6300395"/>
              <a:gd name="connsiteY4" fmla="*/ 5155810 h 5160591"/>
              <a:gd name="connsiteX5" fmla="*/ 1020138 w 6300395"/>
              <a:gd name="connsiteY5" fmla="*/ 5158191 h 5160591"/>
              <a:gd name="connsiteX6" fmla="*/ 2283848 w 6300395"/>
              <a:gd name="connsiteY6" fmla="*/ 3889951 h 5160591"/>
              <a:gd name="connsiteX7" fmla="*/ 3547449 w 6300395"/>
              <a:gd name="connsiteY7" fmla="*/ 5160591 h 5160591"/>
              <a:gd name="connsiteX8" fmla="*/ 6300395 w 6300395"/>
              <a:gd name="connsiteY8" fmla="*/ 5158212 h 5160591"/>
              <a:gd name="connsiteX9" fmla="*/ 3660212 w 6300395"/>
              <a:gd name="connsiteY9" fmla="*/ 2511194 h 5160591"/>
              <a:gd name="connsiteX10" fmla="*/ 6155066 w 6300395"/>
              <a:gd name="connsiteY10" fmla="*/ 0 h 5160591"/>
              <a:gd name="connsiteX11" fmla="*/ 3409153 w 6300395"/>
              <a:gd name="connsiteY11" fmla="*/ 1 h 5160591"/>
              <a:gd name="connsiteX12" fmla="*/ 2283630 w 6300395"/>
              <a:gd name="connsiteY12" fmla="*/ 1123035 h 5160591"/>
              <a:gd name="connsiteX13" fmla="*/ 1160925 w 6300395"/>
              <a:gd name="connsiteY13" fmla="*/ 1 h 5160591"/>
              <a:gd name="connsiteX14" fmla="*/ 340 w 6300395"/>
              <a:gd name="connsiteY14" fmla="*/ 220 h 5160591"/>
              <a:gd name="connsiteX0" fmla="*/ 340 w 6300395"/>
              <a:gd name="connsiteY0" fmla="*/ 220 h 5160601"/>
              <a:gd name="connsiteX1" fmla="*/ 341 w 6300395"/>
              <a:gd name="connsiteY1" fmla="*/ 1599065 h 5160601"/>
              <a:gd name="connsiteX2" fmla="*/ 909868 w 6300395"/>
              <a:gd name="connsiteY2" fmla="*/ 2508702 h 5160601"/>
              <a:gd name="connsiteX3" fmla="*/ 229 w 6300395"/>
              <a:gd name="connsiteY3" fmla="*/ 3418560 h 5160601"/>
              <a:gd name="connsiteX4" fmla="*/ 230 w 6300395"/>
              <a:gd name="connsiteY4" fmla="*/ 5155810 h 5160601"/>
              <a:gd name="connsiteX5" fmla="*/ 1020138 w 6300395"/>
              <a:gd name="connsiteY5" fmla="*/ 5158191 h 5160601"/>
              <a:gd name="connsiteX6" fmla="*/ 2283848 w 6300395"/>
              <a:gd name="connsiteY6" fmla="*/ 3889951 h 5160601"/>
              <a:gd name="connsiteX7" fmla="*/ 3547449 w 6300395"/>
              <a:gd name="connsiteY7" fmla="*/ 5160591 h 5160601"/>
              <a:gd name="connsiteX8" fmla="*/ 6300395 w 6300395"/>
              <a:gd name="connsiteY8" fmla="*/ 5160601 h 5160601"/>
              <a:gd name="connsiteX9" fmla="*/ 3660212 w 6300395"/>
              <a:gd name="connsiteY9" fmla="*/ 2511194 h 5160601"/>
              <a:gd name="connsiteX10" fmla="*/ 6155066 w 6300395"/>
              <a:gd name="connsiteY10" fmla="*/ 0 h 5160601"/>
              <a:gd name="connsiteX11" fmla="*/ 3409153 w 6300395"/>
              <a:gd name="connsiteY11" fmla="*/ 1 h 5160601"/>
              <a:gd name="connsiteX12" fmla="*/ 2283630 w 6300395"/>
              <a:gd name="connsiteY12" fmla="*/ 1123035 h 5160601"/>
              <a:gd name="connsiteX13" fmla="*/ 1160925 w 6300395"/>
              <a:gd name="connsiteY13" fmla="*/ 1 h 5160601"/>
              <a:gd name="connsiteX14" fmla="*/ 340 w 6300395"/>
              <a:gd name="connsiteY14" fmla="*/ 220 h 5160601"/>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5810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0138 w 6300395"/>
              <a:gd name="connsiteY5" fmla="*/ 5158191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5819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 name="connsiteX0" fmla="*/ 340 w 6300395"/>
              <a:gd name="connsiteY0" fmla="*/ 220 h 5162979"/>
              <a:gd name="connsiteX1" fmla="*/ 341 w 6300395"/>
              <a:gd name="connsiteY1" fmla="*/ 1599065 h 5162979"/>
              <a:gd name="connsiteX2" fmla="*/ 909868 w 6300395"/>
              <a:gd name="connsiteY2" fmla="*/ 2508702 h 5162979"/>
              <a:gd name="connsiteX3" fmla="*/ 229 w 6300395"/>
              <a:gd name="connsiteY3" fmla="*/ 3418560 h 5162979"/>
              <a:gd name="connsiteX4" fmla="*/ 230 w 6300395"/>
              <a:gd name="connsiteY4" fmla="*/ 5160589 h 5162979"/>
              <a:gd name="connsiteX5" fmla="*/ 1024901 w 6300395"/>
              <a:gd name="connsiteY5" fmla="*/ 5160579 h 5162979"/>
              <a:gd name="connsiteX6" fmla="*/ 2283848 w 6300395"/>
              <a:gd name="connsiteY6" fmla="*/ 3889951 h 5162979"/>
              <a:gd name="connsiteX7" fmla="*/ 3547449 w 6300395"/>
              <a:gd name="connsiteY7" fmla="*/ 5162979 h 5162979"/>
              <a:gd name="connsiteX8" fmla="*/ 6300395 w 6300395"/>
              <a:gd name="connsiteY8" fmla="*/ 5160601 h 5162979"/>
              <a:gd name="connsiteX9" fmla="*/ 3660212 w 6300395"/>
              <a:gd name="connsiteY9" fmla="*/ 2511194 h 5162979"/>
              <a:gd name="connsiteX10" fmla="*/ 6155066 w 6300395"/>
              <a:gd name="connsiteY10" fmla="*/ 0 h 5162979"/>
              <a:gd name="connsiteX11" fmla="*/ 3409153 w 6300395"/>
              <a:gd name="connsiteY11" fmla="*/ 1 h 5162979"/>
              <a:gd name="connsiteX12" fmla="*/ 2283630 w 6300395"/>
              <a:gd name="connsiteY12" fmla="*/ 1123035 h 5162979"/>
              <a:gd name="connsiteX13" fmla="*/ 1160925 w 6300395"/>
              <a:gd name="connsiteY13" fmla="*/ 1 h 5162979"/>
              <a:gd name="connsiteX14" fmla="*/ 340 w 6300395"/>
              <a:gd name="connsiteY14" fmla="*/ 220 h 516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00395" h="5162979">
                <a:moveTo>
                  <a:pt x="340" y="220"/>
                </a:moveTo>
                <a:cubicBezTo>
                  <a:pt x="340" y="532375"/>
                  <a:pt x="341" y="1066910"/>
                  <a:pt x="341" y="1599065"/>
                </a:cubicBezTo>
                <a:lnTo>
                  <a:pt x="909868" y="2508702"/>
                </a:lnTo>
                <a:lnTo>
                  <a:pt x="229" y="3418560"/>
                </a:lnTo>
                <a:cubicBezTo>
                  <a:pt x="-565" y="3996849"/>
                  <a:pt x="1024" y="4582300"/>
                  <a:pt x="230" y="5160589"/>
                </a:cubicBezTo>
                <a:lnTo>
                  <a:pt x="1024901" y="5160579"/>
                </a:lnTo>
                <a:lnTo>
                  <a:pt x="2283848" y="3889951"/>
                </a:lnTo>
                <a:lnTo>
                  <a:pt x="3547449" y="5162979"/>
                </a:lnTo>
                <a:lnTo>
                  <a:pt x="6300395" y="5160601"/>
                </a:lnTo>
                <a:lnTo>
                  <a:pt x="3660212" y="2511194"/>
                </a:lnTo>
                <a:lnTo>
                  <a:pt x="6155066" y="0"/>
                </a:lnTo>
                <a:lnTo>
                  <a:pt x="3409153" y="1"/>
                </a:lnTo>
                <a:lnTo>
                  <a:pt x="2283630" y="1123035"/>
                </a:lnTo>
                <a:lnTo>
                  <a:pt x="1160925" y="1"/>
                </a:lnTo>
                <a:lnTo>
                  <a:pt x="340" y="220"/>
                </a:lnTo>
                <a:close/>
              </a:path>
            </a:pathLst>
          </a:custGeom>
          <a:solidFill>
            <a:srgbClr val="CED84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en-US" sz="3500" b="1" noProof="0">
                <a:solidFill>
                  <a:srgbClr val="013C74"/>
                </a:solidFill>
              </a:rPr>
              <a:t>We enable energy supply. Today and </a:t>
            </a:r>
          </a:p>
          <a:p>
            <a:pPr algn="l">
              <a:lnSpc>
                <a:spcPct val="90000"/>
              </a:lnSpc>
              <a:spcAft>
                <a:spcPts val="0"/>
              </a:spcAft>
            </a:pPr>
            <a:r>
              <a:rPr lang="en-US" sz="3500" b="1" noProof="0">
                <a:solidFill>
                  <a:srgbClr val="013C74"/>
                </a:solidFill>
              </a:rPr>
              <a:t>in the energy mix of the future.</a:t>
            </a:r>
          </a:p>
        </p:txBody>
      </p:sp>
    </p:spTree>
    <p:extLst>
      <p:ext uri="{BB962C8B-B14F-4D97-AF65-F5344CB8AC3E}">
        <p14:creationId xmlns:p14="http://schemas.microsoft.com/office/powerpoint/2010/main" val="587977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4">
    <p:bg>
      <p:bgPr>
        <a:solidFill>
          <a:srgbClr val="C9E8FB"/>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7BA9DF89-3EFF-4DA4-A7F9-7BB04AD8904C}"/>
              </a:ext>
            </a:extLst>
          </p:cNvPr>
          <p:cNvSpPr/>
          <p:nvPr userDrawn="1"/>
        </p:nvSpPr>
        <p:spPr>
          <a:xfrm>
            <a:off x="1749600" y="1670400"/>
            <a:ext cx="7394400" cy="2606400"/>
          </a:xfrm>
          <a:prstGeom prst="rect">
            <a:avLst/>
          </a:prstGeom>
          <a:solidFill>
            <a:srgbClr val="FFEF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799"/>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1D2C570E-8B6B-4468-AAA1-4A6E16CA0E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Tree>
    <p:extLst>
      <p:ext uri="{BB962C8B-B14F-4D97-AF65-F5344CB8AC3E}">
        <p14:creationId xmlns:p14="http://schemas.microsoft.com/office/powerpoint/2010/main" val="30655042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chlussfolie 3 englisch">
    <p:bg>
      <p:bgPr>
        <a:solidFill>
          <a:srgbClr val="C9E8FB"/>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CC3AC137-51D1-40B5-BB7E-B1F88ECD86AD}"/>
              </a:ext>
            </a:extLst>
          </p:cNvPr>
          <p:cNvSpPr/>
          <p:nvPr userDrawn="1"/>
        </p:nvSpPr>
        <p:spPr>
          <a:xfrm>
            <a:off x="1371622" y="671461"/>
            <a:ext cx="7772378" cy="4472039"/>
          </a:xfrm>
          <a:custGeom>
            <a:avLst/>
            <a:gdLst>
              <a:gd name="connsiteX0" fmla="*/ 5697195 w 7772378"/>
              <a:gd name="connsiteY0" fmla="*/ 0 h 4472039"/>
              <a:gd name="connsiteX1" fmla="*/ 7713796 w 7772378"/>
              <a:gd name="connsiteY1" fmla="*/ 355890 h 4472039"/>
              <a:gd name="connsiteX2" fmla="*/ 7772378 w 7772378"/>
              <a:gd name="connsiteY2" fmla="*/ 378988 h 4472039"/>
              <a:gd name="connsiteX3" fmla="*/ 7772378 w 7772378"/>
              <a:gd name="connsiteY3" fmla="*/ 2017185 h 4472039"/>
              <a:gd name="connsiteX4" fmla="*/ 7592271 w 7772378"/>
              <a:gd name="connsiteY4" fmla="*/ 1924939 h 4472039"/>
              <a:gd name="connsiteX5" fmla="*/ 5697195 w 7772378"/>
              <a:gd name="connsiteY5" fmla="*/ 1493896 h 4472039"/>
              <a:gd name="connsiteX6" fmla="*/ 1669548 w 7772378"/>
              <a:gd name="connsiteY6" fmla="*/ 4163600 h 4472039"/>
              <a:gd name="connsiteX7" fmla="*/ 1556658 w 7772378"/>
              <a:gd name="connsiteY7" fmla="*/ 4472039 h 4472039"/>
              <a:gd name="connsiteX8" fmla="*/ 0 w 7772378"/>
              <a:gd name="connsiteY8" fmla="*/ 4472039 h 4472039"/>
              <a:gd name="connsiteX9" fmla="*/ 16793 w 7772378"/>
              <a:gd name="connsiteY9" fmla="*/ 4399283 h 4472039"/>
              <a:gd name="connsiteX10" fmla="*/ 5697195 w 7772378"/>
              <a:gd name="connsiteY10" fmla="*/ 0 h 447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2378" h="4472039">
                <a:moveTo>
                  <a:pt x="5697195" y="0"/>
                </a:moveTo>
                <a:cubicBezTo>
                  <a:pt x="6405765" y="0"/>
                  <a:pt x="7084987" y="125652"/>
                  <a:pt x="7713796" y="355890"/>
                </a:cubicBezTo>
                <a:lnTo>
                  <a:pt x="7772378" y="378988"/>
                </a:lnTo>
                <a:lnTo>
                  <a:pt x="7772378" y="2017185"/>
                </a:lnTo>
                <a:lnTo>
                  <a:pt x="7592271" y="1924939"/>
                </a:lnTo>
                <a:cubicBezTo>
                  <a:pt x="7018982" y="1648701"/>
                  <a:pt x="6376167" y="1493896"/>
                  <a:pt x="5697195" y="1493896"/>
                </a:cubicBezTo>
                <a:cubicBezTo>
                  <a:pt x="3886604" y="1493896"/>
                  <a:pt x="2333125" y="2594727"/>
                  <a:pt x="1669548" y="4163600"/>
                </a:cubicBezTo>
                <a:lnTo>
                  <a:pt x="1556658" y="4472039"/>
                </a:lnTo>
                <a:lnTo>
                  <a:pt x="0" y="4472039"/>
                </a:lnTo>
                <a:lnTo>
                  <a:pt x="16793" y="4399283"/>
                </a:lnTo>
                <a:cubicBezTo>
                  <a:pt x="667704" y="1869396"/>
                  <a:pt x="2964139" y="0"/>
                  <a:pt x="5697195" y="0"/>
                </a:cubicBezTo>
                <a:close/>
              </a:path>
            </a:pathLst>
          </a:custGeom>
          <a:solidFill>
            <a:srgbClr val="82C5E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Bild 6" descr="Element 1.png">
            <a:extLst>
              <a:ext uri="{FF2B5EF4-FFF2-40B4-BE49-F238E27FC236}">
                <a16:creationId xmlns:a16="http://schemas.microsoft.com/office/drawing/2014/main" id="{4CEF9F52-80DE-4EF5-9E7B-2A249D6CAA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5" name="Textfeld 4">
            <a:extLst>
              <a:ext uri="{FF2B5EF4-FFF2-40B4-BE49-F238E27FC236}">
                <a16:creationId xmlns:a16="http://schemas.microsoft.com/office/drawing/2014/main" id="{AEABE8B8-33BE-4A14-BFD5-49D61E73D111}"/>
              </a:ext>
            </a:extLst>
          </p:cNvPr>
          <p:cNvSpPr txBox="1"/>
          <p:nvPr userDrawn="1"/>
        </p:nvSpPr>
        <p:spPr>
          <a:xfrm>
            <a:off x="399599" y="2692800"/>
            <a:ext cx="8348399" cy="969635"/>
          </a:xfrm>
          <a:prstGeom prst="rect">
            <a:avLst/>
          </a:prstGeom>
          <a:noFill/>
        </p:spPr>
        <p:txBody>
          <a:bodyPr wrap="none" lIns="0" tIns="0" rIns="0" bIns="0" rtlCol="0">
            <a:noAutofit/>
          </a:bodyPr>
          <a:lstStyle/>
          <a:p>
            <a:pPr algn="l">
              <a:lnSpc>
                <a:spcPct val="90000"/>
              </a:lnSpc>
              <a:spcAft>
                <a:spcPts val="0"/>
              </a:spcAft>
            </a:pPr>
            <a:r>
              <a:rPr lang="en-US" sz="3500" b="1" noProof="0">
                <a:solidFill>
                  <a:srgbClr val="013C74"/>
                </a:solidFill>
              </a:rPr>
              <a:t>We enable energy supply. Today and </a:t>
            </a:r>
          </a:p>
          <a:p>
            <a:pPr algn="l">
              <a:lnSpc>
                <a:spcPct val="90000"/>
              </a:lnSpc>
              <a:spcAft>
                <a:spcPts val="0"/>
              </a:spcAft>
            </a:pPr>
            <a:r>
              <a:rPr lang="en-US" sz="3500" b="1" noProof="0">
                <a:solidFill>
                  <a:srgbClr val="013C74"/>
                </a:solidFill>
              </a:rPr>
              <a:t>in the energy mix of the future.</a:t>
            </a:r>
          </a:p>
        </p:txBody>
      </p:sp>
    </p:spTree>
    <p:extLst>
      <p:ext uri="{BB962C8B-B14F-4D97-AF65-F5344CB8AC3E}">
        <p14:creationId xmlns:p14="http://schemas.microsoft.com/office/powerpoint/2010/main" val="2652468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5">
    <p:bg>
      <p:bgPr>
        <a:solidFill>
          <a:srgbClr val="35AEB5"/>
        </a:solidFill>
        <a:effectLst/>
      </p:bgPr>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96F01E7-EF95-4A53-A938-16D950915031}"/>
              </a:ext>
            </a:extLst>
          </p:cNvPr>
          <p:cNvSpPr/>
          <p:nvPr userDrawn="1"/>
        </p:nvSpPr>
        <p:spPr>
          <a:xfrm>
            <a:off x="1749600" y="1670400"/>
            <a:ext cx="7394400" cy="2606400"/>
          </a:xfrm>
          <a:prstGeom prst="rect">
            <a:avLst/>
          </a:prstGeom>
          <a:solidFill>
            <a:srgbClr val="058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solidFill>
                  <a:srgbClr val="FFFFFF"/>
                </a:solidFill>
              </a:defRPr>
            </a:lvl1pPr>
          </a:lstStyle>
          <a:p>
            <a:r>
              <a:rPr lang="de-DE"/>
              <a:t>Mastertitelformat bearbeiten</a:t>
            </a:r>
            <a:endParaRPr lang="en-US"/>
          </a:p>
        </p:txBody>
      </p:sp>
      <p:sp>
        <p:nvSpPr>
          <p:cNvPr id="3" name="Subtitle 2"/>
          <p:cNvSpPr>
            <a:spLocks noGrp="1"/>
          </p:cNvSpPr>
          <p:nvPr>
            <p:ph type="subTitle" idx="1"/>
          </p:nvPr>
        </p:nvSpPr>
        <p:spPr>
          <a:xfrm>
            <a:off x="658800" y="3592799"/>
            <a:ext cx="4143600" cy="1080000"/>
          </a:xfrm>
        </p:spPr>
        <p:txBody>
          <a:bodyPr>
            <a:noAutofit/>
          </a:bodyPr>
          <a:lstStyle>
            <a:lvl1pPr marL="0" indent="0" algn="l">
              <a:lnSpc>
                <a:spcPts val="1700"/>
              </a:lnSpc>
              <a:spcBef>
                <a:spcPts val="0"/>
              </a:spcBef>
              <a:buNone/>
              <a:defRPr sz="1400">
                <a:solidFill>
                  <a:srgbClr val="FFFFF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6" name="Bild 6" descr="Element 1.png">
            <a:extLst>
              <a:ext uri="{FF2B5EF4-FFF2-40B4-BE49-F238E27FC236}">
                <a16:creationId xmlns:a16="http://schemas.microsoft.com/office/drawing/2014/main" id="{4B0F11CA-43A1-43B2-8059-77F029235F7F}"/>
              </a:ext>
            </a:extLst>
          </p:cNvPr>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682400" y="4449600"/>
            <a:ext cx="1188000" cy="368571"/>
          </a:xfrm>
          <a:prstGeom prst="rect">
            <a:avLst/>
          </a:prstGeom>
          <a:noFill/>
        </p:spPr>
      </p:pic>
    </p:spTree>
    <p:extLst>
      <p:ext uri="{BB962C8B-B14F-4D97-AF65-F5344CB8AC3E}">
        <p14:creationId xmlns:p14="http://schemas.microsoft.com/office/powerpoint/2010/main" val="1426574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6">
    <p:bg>
      <p:bgPr>
        <a:solidFill>
          <a:srgbClr val="76C7C9"/>
        </a:solidFill>
        <a:effectLst/>
      </p:bgPr>
    </p:bg>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0B439664-BBF4-4E4C-9AC3-A72328BE9D25}"/>
              </a:ext>
            </a:extLst>
          </p:cNvPr>
          <p:cNvSpPr/>
          <p:nvPr userDrawn="1"/>
        </p:nvSpPr>
        <p:spPr>
          <a:xfrm>
            <a:off x="658801" y="0"/>
            <a:ext cx="5837947" cy="4672800"/>
          </a:xfrm>
          <a:custGeom>
            <a:avLst/>
            <a:gdLst>
              <a:gd name="connsiteX0" fmla="*/ 588629 w 5837947"/>
              <a:gd name="connsiteY0" fmla="*/ 0 h 4672800"/>
              <a:gd name="connsiteX1" fmla="*/ 5249319 w 5837947"/>
              <a:gd name="connsiteY1" fmla="*/ 0 h 4672800"/>
              <a:gd name="connsiteX2" fmla="*/ 5319592 w 5837947"/>
              <a:gd name="connsiteY2" fmla="*/ 92808 h 4672800"/>
              <a:gd name="connsiteX3" fmla="*/ 5837947 w 5837947"/>
              <a:gd name="connsiteY3" fmla="*/ 1753826 h 4672800"/>
              <a:gd name="connsiteX4" fmla="*/ 2918974 w 5837947"/>
              <a:gd name="connsiteY4" fmla="*/ 4672800 h 4672800"/>
              <a:gd name="connsiteX5" fmla="*/ 0 w 5837947"/>
              <a:gd name="connsiteY5" fmla="*/ 1753826 h 4672800"/>
              <a:gd name="connsiteX6" fmla="*/ 518356 w 5837947"/>
              <a:gd name="connsiteY6" fmla="*/ 92808 h 467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7947" h="4672800">
                <a:moveTo>
                  <a:pt x="588629" y="0"/>
                </a:moveTo>
                <a:lnTo>
                  <a:pt x="5249319" y="0"/>
                </a:lnTo>
                <a:lnTo>
                  <a:pt x="5319592" y="92808"/>
                </a:lnTo>
                <a:cubicBezTo>
                  <a:pt x="5646431" y="564289"/>
                  <a:pt x="5837947" y="1136693"/>
                  <a:pt x="5837947" y="1753826"/>
                </a:cubicBezTo>
                <a:cubicBezTo>
                  <a:pt x="5837947" y="3365931"/>
                  <a:pt x="4531078" y="4672800"/>
                  <a:pt x="2918974" y="4672800"/>
                </a:cubicBezTo>
                <a:cubicBezTo>
                  <a:pt x="1306869" y="4672800"/>
                  <a:pt x="0" y="3365931"/>
                  <a:pt x="0" y="1753826"/>
                </a:cubicBezTo>
                <a:cubicBezTo>
                  <a:pt x="0" y="1136693"/>
                  <a:pt x="191516" y="564289"/>
                  <a:pt x="518356" y="92808"/>
                </a:cubicBezTo>
                <a:close/>
              </a:path>
            </a:pathLst>
          </a:custGeom>
          <a:solidFill>
            <a:srgbClr val="52A43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solidFill>
                  <a:srgbClr val="FFFFFF"/>
                </a:solidFill>
              </a:defRPr>
            </a:lvl1pPr>
          </a:lstStyle>
          <a:p>
            <a:r>
              <a:rPr lang="de-DE"/>
              <a:t>Mastertitelformat bearbeiten</a:t>
            </a:r>
            <a:endParaRPr lang="en-US"/>
          </a:p>
        </p:txBody>
      </p:sp>
      <p:sp>
        <p:nvSpPr>
          <p:cNvPr id="3" name="Subtitle 2"/>
          <p:cNvSpPr>
            <a:spLocks noGrp="1"/>
          </p:cNvSpPr>
          <p:nvPr>
            <p:ph type="subTitle" idx="1"/>
          </p:nvPr>
        </p:nvSpPr>
        <p:spPr>
          <a:xfrm>
            <a:off x="658800" y="3592799"/>
            <a:ext cx="4143600" cy="1080000"/>
          </a:xfrm>
        </p:spPr>
        <p:txBody>
          <a:bodyPr>
            <a:noAutofit/>
          </a:bodyPr>
          <a:lstStyle>
            <a:lvl1pPr marL="0" indent="0" algn="l">
              <a:lnSpc>
                <a:spcPts val="1700"/>
              </a:lnSpc>
              <a:spcBef>
                <a:spcPts val="0"/>
              </a:spcBef>
              <a:buNone/>
              <a:defRPr sz="1400">
                <a:solidFill>
                  <a:srgbClr val="FFFFF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6" name="Bild 6" descr="Element 1.png">
            <a:extLst>
              <a:ext uri="{FF2B5EF4-FFF2-40B4-BE49-F238E27FC236}">
                <a16:creationId xmlns:a16="http://schemas.microsoft.com/office/drawing/2014/main" id="{34F672C5-B4F4-45FE-8342-692C28D694F9}"/>
              </a:ext>
            </a:extLst>
          </p:cNvPr>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682400" y="4449600"/>
            <a:ext cx="1188000" cy="368571"/>
          </a:xfrm>
          <a:prstGeom prst="rect">
            <a:avLst/>
          </a:prstGeom>
          <a:noFill/>
        </p:spPr>
      </p:pic>
    </p:spTree>
    <p:extLst>
      <p:ext uri="{BB962C8B-B14F-4D97-AF65-F5344CB8AC3E}">
        <p14:creationId xmlns:p14="http://schemas.microsoft.com/office/powerpoint/2010/main" val="1674915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7">
    <p:bg>
      <p:bgPr>
        <a:solidFill>
          <a:srgbClr val="013C74"/>
        </a:solidFill>
        <a:effectLst/>
      </p:bgPr>
    </p:bg>
    <p:spTree>
      <p:nvGrpSpPr>
        <p:cNvPr id="1" name=""/>
        <p:cNvGrpSpPr/>
        <p:nvPr/>
      </p:nvGrpSpPr>
      <p:grpSpPr>
        <a:xfrm>
          <a:off x="0" y="0"/>
          <a:ext cx="0" cy="0"/>
          <a:chOff x="0" y="0"/>
          <a:chExt cx="0" cy="0"/>
        </a:xfrm>
      </p:grpSpPr>
      <p:sp>
        <p:nvSpPr>
          <p:cNvPr id="9" name="Freihandform: Form 8">
            <a:extLst>
              <a:ext uri="{FF2B5EF4-FFF2-40B4-BE49-F238E27FC236}">
                <a16:creationId xmlns:a16="http://schemas.microsoft.com/office/drawing/2014/main" id="{7DB26286-CF92-4ABF-86C2-CAFD8B373EC2}"/>
              </a:ext>
            </a:extLst>
          </p:cNvPr>
          <p:cNvSpPr/>
          <p:nvPr userDrawn="1"/>
        </p:nvSpPr>
        <p:spPr>
          <a:xfrm>
            <a:off x="917703" y="1"/>
            <a:ext cx="8226297" cy="4609171"/>
          </a:xfrm>
          <a:custGeom>
            <a:avLst/>
            <a:gdLst>
              <a:gd name="connsiteX0" fmla="*/ 0 w 8226297"/>
              <a:gd name="connsiteY0" fmla="*/ 0 h 4609171"/>
              <a:gd name="connsiteX1" fmla="*/ 1233011 w 8226297"/>
              <a:gd name="connsiteY1" fmla="*/ 0 h 4609171"/>
              <a:gd name="connsiteX2" fmla="*/ 1240914 w 8226297"/>
              <a:gd name="connsiteY2" fmla="*/ 156507 h 4609171"/>
              <a:gd name="connsiteX3" fmla="*/ 4814621 w 8226297"/>
              <a:gd name="connsiteY3" fmla="*/ 3381474 h 4609171"/>
              <a:gd name="connsiteX4" fmla="*/ 8124578 w 8226297"/>
              <a:gd name="connsiteY4" fmla="*/ 1187487 h 4609171"/>
              <a:gd name="connsiteX5" fmla="*/ 8226297 w 8226297"/>
              <a:gd name="connsiteY5" fmla="*/ 909570 h 4609171"/>
              <a:gd name="connsiteX6" fmla="*/ 8226297 w 8226297"/>
              <a:gd name="connsiteY6" fmla="*/ 3193816 h 4609171"/>
              <a:gd name="connsiteX7" fmla="*/ 8222841 w 8226297"/>
              <a:gd name="connsiteY7" fmla="*/ 3197440 h 4609171"/>
              <a:gd name="connsiteX8" fmla="*/ 4814621 w 8226297"/>
              <a:gd name="connsiteY8" fmla="*/ 4609171 h 4609171"/>
              <a:gd name="connsiteX9" fmla="*/ 942 w 8226297"/>
              <a:gd name="connsiteY9" fmla="*/ 37254 h 460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26297" h="4609171">
                <a:moveTo>
                  <a:pt x="0" y="0"/>
                </a:moveTo>
                <a:lnTo>
                  <a:pt x="1233011" y="0"/>
                </a:lnTo>
                <a:lnTo>
                  <a:pt x="1240914" y="156507"/>
                </a:lnTo>
                <a:cubicBezTo>
                  <a:pt x="1424873" y="1967923"/>
                  <a:pt x="2954671" y="3381474"/>
                  <a:pt x="4814621" y="3381474"/>
                </a:cubicBezTo>
                <a:cubicBezTo>
                  <a:pt x="6302582" y="3381474"/>
                  <a:pt x="7579244" y="2476801"/>
                  <a:pt x="8124578" y="1187487"/>
                </a:cubicBezTo>
                <a:lnTo>
                  <a:pt x="8226297" y="909570"/>
                </a:lnTo>
                <a:lnTo>
                  <a:pt x="8226297" y="3193816"/>
                </a:lnTo>
                <a:lnTo>
                  <a:pt x="8222841" y="3197440"/>
                </a:lnTo>
                <a:cubicBezTo>
                  <a:pt x="7350602" y="4069680"/>
                  <a:pt x="6145614" y="4609171"/>
                  <a:pt x="4814621" y="4609171"/>
                </a:cubicBezTo>
                <a:cubicBezTo>
                  <a:pt x="2235823" y="4609171"/>
                  <a:pt x="130035" y="2583971"/>
                  <a:pt x="942" y="37254"/>
                </a:cubicBezTo>
                <a:close/>
              </a:path>
            </a:pathLst>
          </a:custGeom>
          <a:solidFill>
            <a:srgbClr val="D01D7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solidFill>
                  <a:srgbClr val="FFFFFF"/>
                </a:solidFill>
              </a:defRPr>
            </a:lvl1pPr>
          </a:lstStyle>
          <a:p>
            <a:r>
              <a:rPr lang="de-DE"/>
              <a:t>Mastertitelformat bearbeiten</a:t>
            </a:r>
            <a:endParaRPr lang="en-US"/>
          </a:p>
        </p:txBody>
      </p:sp>
      <p:sp>
        <p:nvSpPr>
          <p:cNvPr id="3" name="Subtitle 2"/>
          <p:cNvSpPr>
            <a:spLocks noGrp="1"/>
          </p:cNvSpPr>
          <p:nvPr>
            <p:ph type="subTitle" idx="1"/>
          </p:nvPr>
        </p:nvSpPr>
        <p:spPr>
          <a:xfrm>
            <a:off x="658800" y="3592799"/>
            <a:ext cx="4143600" cy="1080000"/>
          </a:xfrm>
        </p:spPr>
        <p:txBody>
          <a:bodyPr>
            <a:noAutofit/>
          </a:bodyPr>
          <a:lstStyle>
            <a:lvl1pPr marL="0" indent="0" algn="l">
              <a:lnSpc>
                <a:spcPts val="1700"/>
              </a:lnSpc>
              <a:spcBef>
                <a:spcPts val="0"/>
              </a:spcBef>
              <a:buNone/>
              <a:defRPr sz="1400">
                <a:solidFill>
                  <a:srgbClr val="FFFFF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8" name="Bild 6" descr="Element 1.png">
            <a:extLst>
              <a:ext uri="{FF2B5EF4-FFF2-40B4-BE49-F238E27FC236}">
                <a16:creationId xmlns:a16="http://schemas.microsoft.com/office/drawing/2014/main" id="{285E6E01-AF64-4E6E-881B-90B94F76EEAC}"/>
              </a:ext>
            </a:extLst>
          </p:cNvPr>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682400" y="4449600"/>
            <a:ext cx="1188000" cy="368571"/>
          </a:xfrm>
          <a:prstGeom prst="rect">
            <a:avLst/>
          </a:prstGeom>
          <a:noFill/>
        </p:spPr>
      </p:pic>
    </p:spTree>
    <p:extLst>
      <p:ext uri="{BB962C8B-B14F-4D97-AF65-F5344CB8AC3E}">
        <p14:creationId xmlns:p14="http://schemas.microsoft.com/office/powerpoint/2010/main" val="32166059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rgbClr val="FFEF18"/>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196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4719600" y="3592800"/>
            <a:ext cx="4143600" cy="594639"/>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7" name="Bildplatzhalter 6">
            <a:extLst>
              <a:ext uri="{FF2B5EF4-FFF2-40B4-BE49-F238E27FC236}">
                <a16:creationId xmlns:a16="http://schemas.microsoft.com/office/drawing/2014/main" id="{A1A4108B-3D85-4D2A-B02B-BC261A6C1FAC}"/>
              </a:ext>
            </a:extLst>
          </p:cNvPr>
          <p:cNvSpPr>
            <a:spLocks noGrp="1"/>
          </p:cNvSpPr>
          <p:nvPr>
            <p:ph type="pic" sz="quarter" idx="10"/>
          </p:nvPr>
        </p:nvSpPr>
        <p:spPr>
          <a:xfrm>
            <a:off x="0" y="0"/>
            <a:ext cx="5676312" cy="5143500"/>
          </a:xfrm>
          <a:custGeom>
            <a:avLst/>
            <a:gdLst>
              <a:gd name="connsiteX0" fmla="*/ 0 w 5676312"/>
              <a:gd name="connsiteY0" fmla="*/ 0 h 5143500"/>
              <a:gd name="connsiteX1" fmla="*/ 5676312 w 5676312"/>
              <a:gd name="connsiteY1" fmla="*/ 0 h 5143500"/>
              <a:gd name="connsiteX2" fmla="*/ 5672523 w 5676312"/>
              <a:gd name="connsiteY2" fmla="*/ 2978 h 5143500"/>
              <a:gd name="connsiteX3" fmla="*/ 4188767 w 5676312"/>
              <a:gd name="connsiteY3" fmla="*/ 3149214 h 5143500"/>
              <a:gd name="connsiteX4" fmla="*/ 4680874 w 5676312"/>
              <a:gd name="connsiteY4" fmla="*/ 5092693 h 5143500"/>
              <a:gd name="connsiteX5" fmla="*/ 4711740 w 5676312"/>
              <a:gd name="connsiteY5" fmla="*/ 5143500 h 5143500"/>
              <a:gd name="connsiteX6" fmla="*/ 0 w 5676312"/>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6312" h="5143500">
                <a:moveTo>
                  <a:pt x="0" y="0"/>
                </a:moveTo>
                <a:lnTo>
                  <a:pt x="5676312" y="0"/>
                </a:lnTo>
                <a:lnTo>
                  <a:pt x="5672523" y="2978"/>
                </a:lnTo>
                <a:cubicBezTo>
                  <a:pt x="4766356" y="750813"/>
                  <a:pt x="4188767" y="1882562"/>
                  <a:pt x="4188767" y="3149214"/>
                </a:cubicBezTo>
                <a:cubicBezTo>
                  <a:pt x="4188767" y="3852910"/>
                  <a:pt x="4367035" y="4514969"/>
                  <a:pt x="4680874" y="5092693"/>
                </a:cubicBezTo>
                <a:lnTo>
                  <a:pt x="4711740" y="5143500"/>
                </a:lnTo>
                <a:lnTo>
                  <a:pt x="0" y="5143500"/>
                </a:lnTo>
                <a:close/>
              </a:path>
            </a:pathLst>
          </a:custGeom>
        </p:spPr>
        <p:txBody>
          <a:bodyPr wrap="square">
            <a:noAutofit/>
          </a:bodyPr>
          <a:lstStyle/>
          <a:p>
            <a:r>
              <a:rPr lang="de-DE"/>
              <a:t>Bild durch Klicken auf Symbol hinzufügen</a:t>
            </a:r>
          </a:p>
        </p:txBody>
      </p:sp>
      <p:pic>
        <p:nvPicPr>
          <p:cNvPr id="5" name="Bild 6" descr="Element 1.png">
            <a:extLst>
              <a:ext uri="{FF2B5EF4-FFF2-40B4-BE49-F238E27FC236}">
                <a16:creationId xmlns:a16="http://schemas.microsoft.com/office/drawing/2014/main" id="{1D2C570E-8B6B-4468-AAA1-4A6E16CA0E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Tree>
    <p:extLst>
      <p:ext uri="{BB962C8B-B14F-4D97-AF65-F5344CB8AC3E}">
        <p14:creationId xmlns:p14="http://schemas.microsoft.com/office/powerpoint/2010/main" val="2377946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2">
    <p:bg>
      <p:bgPr>
        <a:solidFill>
          <a:srgbClr val="82C5EB"/>
        </a:solidFill>
        <a:effectLst/>
      </p:bgPr>
    </p:bg>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998219BF-70B2-41B8-BABA-209890EE4FBA}"/>
              </a:ext>
            </a:extLst>
          </p:cNvPr>
          <p:cNvSpPr/>
          <p:nvPr userDrawn="1"/>
        </p:nvSpPr>
        <p:spPr>
          <a:xfrm>
            <a:off x="712263" y="1041437"/>
            <a:ext cx="7811650" cy="4102063"/>
          </a:xfrm>
          <a:custGeom>
            <a:avLst/>
            <a:gdLst>
              <a:gd name="connsiteX0" fmla="*/ 3905825 w 7811650"/>
              <a:gd name="connsiteY0" fmla="*/ 0 h 4102063"/>
              <a:gd name="connsiteX1" fmla="*/ 7811650 w 7811650"/>
              <a:gd name="connsiteY1" fmla="*/ 3905825 h 4102063"/>
              <a:gd name="connsiteX2" fmla="*/ 7805450 w 7811650"/>
              <a:gd name="connsiteY2" fmla="*/ 4102063 h 4102063"/>
              <a:gd name="connsiteX3" fmla="*/ 6808118 w 7811650"/>
              <a:gd name="connsiteY3" fmla="*/ 4102063 h 4102063"/>
              <a:gd name="connsiteX4" fmla="*/ 6816791 w 7811650"/>
              <a:gd name="connsiteY4" fmla="*/ 3905825 h 4102063"/>
              <a:gd name="connsiteX5" fmla="*/ 3905825 w 7811650"/>
              <a:gd name="connsiteY5" fmla="*/ 994859 h 4102063"/>
              <a:gd name="connsiteX6" fmla="*/ 994859 w 7811650"/>
              <a:gd name="connsiteY6" fmla="*/ 3905825 h 4102063"/>
              <a:gd name="connsiteX7" fmla="*/ 1003533 w 7811650"/>
              <a:gd name="connsiteY7" fmla="*/ 4102063 h 4102063"/>
              <a:gd name="connsiteX8" fmla="*/ 6200 w 7811650"/>
              <a:gd name="connsiteY8" fmla="*/ 4102063 h 4102063"/>
              <a:gd name="connsiteX9" fmla="*/ 0 w 7811650"/>
              <a:gd name="connsiteY9" fmla="*/ 3905825 h 4102063"/>
              <a:gd name="connsiteX10" fmla="*/ 3905825 w 7811650"/>
              <a:gd name="connsiteY10" fmla="*/ 0 h 410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650" h="4102063">
                <a:moveTo>
                  <a:pt x="3905825" y="0"/>
                </a:moveTo>
                <a:cubicBezTo>
                  <a:pt x="6062953" y="0"/>
                  <a:pt x="7811650" y="1748698"/>
                  <a:pt x="7811650" y="3905825"/>
                </a:cubicBezTo>
                <a:lnTo>
                  <a:pt x="7805450" y="4102063"/>
                </a:lnTo>
                <a:lnTo>
                  <a:pt x="6808118" y="4102063"/>
                </a:lnTo>
                <a:lnTo>
                  <a:pt x="6816791" y="3905825"/>
                </a:lnTo>
                <a:cubicBezTo>
                  <a:pt x="6816791" y="2298143"/>
                  <a:pt x="5513507" y="994859"/>
                  <a:pt x="3905825" y="994859"/>
                </a:cubicBezTo>
                <a:cubicBezTo>
                  <a:pt x="2298143" y="994859"/>
                  <a:pt x="994859" y="2298143"/>
                  <a:pt x="994859" y="3905825"/>
                </a:cubicBezTo>
                <a:lnTo>
                  <a:pt x="1003533" y="4102063"/>
                </a:lnTo>
                <a:lnTo>
                  <a:pt x="6200" y="4102063"/>
                </a:lnTo>
                <a:lnTo>
                  <a:pt x="0" y="3905825"/>
                </a:lnTo>
                <a:cubicBezTo>
                  <a:pt x="0" y="1748698"/>
                  <a:pt x="1748698" y="0"/>
                  <a:pt x="3905825" y="0"/>
                </a:cubicBezTo>
                <a:close/>
              </a:path>
            </a:pathLst>
          </a:custGeom>
          <a:solidFill>
            <a:srgbClr val="C9E8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ctrTitle"/>
          </p:nvPr>
        </p:nvSpPr>
        <p:spPr>
          <a:xfrm>
            <a:off x="658800" y="2844000"/>
            <a:ext cx="4143600" cy="687600"/>
          </a:xfrm>
        </p:spPr>
        <p:txBody>
          <a:bodyPr anchor="b">
            <a:noAutofit/>
          </a:bodyPr>
          <a:lstStyle>
            <a:lvl1pPr algn="l">
              <a:defRPr sz="2300"/>
            </a:lvl1pPr>
          </a:lstStyle>
          <a:p>
            <a:r>
              <a:rPr lang="de-DE"/>
              <a:t>Mastertitelformat bearbeiten</a:t>
            </a:r>
            <a:endParaRPr lang="en-US"/>
          </a:p>
        </p:txBody>
      </p:sp>
      <p:sp>
        <p:nvSpPr>
          <p:cNvPr id="3" name="Subtitle 2"/>
          <p:cNvSpPr>
            <a:spLocks noGrp="1"/>
          </p:cNvSpPr>
          <p:nvPr>
            <p:ph type="subTitle" idx="1"/>
          </p:nvPr>
        </p:nvSpPr>
        <p:spPr>
          <a:xfrm>
            <a:off x="658800" y="3592800"/>
            <a:ext cx="4143600" cy="1080000"/>
          </a:xfrm>
        </p:spPr>
        <p:txBody>
          <a:bodyPr>
            <a:noAutofit/>
          </a:bodyPr>
          <a:lstStyle>
            <a:lvl1pPr marL="0" indent="0" algn="l">
              <a:lnSpc>
                <a:spcPts val="1700"/>
              </a:lnSpc>
              <a:spcBef>
                <a:spcPts val="0"/>
              </a:spcBef>
              <a:buNone/>
              <a:defRPr sz="1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pic>
        <p:nvPicPr>
          <p:cNvPr id="5" name="Bild 6" descr="Element 1.png">
            <a:extLst>
              <a:ext uri="{FF2B5EF4-FFF2-40B4-BE49-F238E27FC236}">
                <a16:creationId xmlns:a16="http://schemas.microsoft.com/office/drawing/2014/main" id="{3214B8A0-D139-4C9E-A3E9-FFED6BBF00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2400" y="4449600"/>
            <a:ext cx="1188000" cy="368571"/>
          </a:xfrm>
          <a:prstGeom prst="rect">
            <a:avLst/>
          </a:prstGeom>
        </p:spPr>
      </p:pic>
      <p:sp>
        <p:nvSpPr>
          <p:cNvPr id="8" name="Bildplatzhalter 7">
            <a:extLst>
              <a:ext uri="{FF2B5EF4-FFF2-40B4-BE49-F238E27FC236}">
                <a16:creationId xmlns:a16="http://schemas.microsoft.com/office/drawing/2014/main" id="{76A42142-C49E-4CBD-8DB9-91B802FFBE64}"/>
              </a:ext>
            </a:extLst>
          </p:cNvPr>
          <p:cNvSpPr>
            <a:spLocks noGrp="1"/>
          </p:cNvSpPr>
          <p:nvPr>
            <p:ph type="pic" sz="quarter" idx="10"/>
          </p:nvPr>
        </p:nvSpPr>
        <p:spPr>
          <a:xfrm>
            <a:off x="5000399" y="687599"/>
            <a:ext cx="4143600" cy="2844000"/>
          </a:xfrm>
        </p:spPr>
        <p:txBody>
          <a:bodyPr/>
          <a:lstStyle/>
          <a:p>
            <a:r>
              <a:rPr lang="de-DE"/>
              <a:t>Bild durch Klicken auf Symbol hinzufügen</a:t>
            </a:r>
          </a:p>
        </p:txBody>
      </p:sp>
    </p:spTree>
    <p:extLst>
      <p:ext uri="{BB962C8B-B14F-4D97-AF65-F5344CB8AC3E}">
        <p14:creationId xmlns:p14="http://schemas.microsoft.com/office/powerpoint/2010/main" val="11087604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00" y="273844"/>
            <a:ext cx="7207200" cy="396000"/>
          </a:xfrm>
          <a:prstGeom prst="rect">
            <a:avLst/>
          </a:prstGeom>
        </p:spPr>
        <p:txBody>
          <a:bodyPr vert="horz" lIns="0" tIns="0" rIns="0" bIns="0" rtlCol="0" anchor="t" anchorCtr="0">
            <a:noAutofit/>
          </a:bodyPr>
          <a:lstStyle/>
          <a:p>
            <a:r>
              <a:rPr lang="de-DE"/>
              <a:t>Mastertitelformat bearbeiten</a:t>
            </a:r>
            <a:endParaRPr lang="en-US"/>
          </a:p>
        </p:txBody>
      </p:sp>
      <p:sp>
        <p:nvSpPr>
          <p:cNvPr id="3" name="Text Placeholder 2"/>
          <p:cNvSpPr>
            <a:spLocks noGrp="1"/>
          </p:cNvSpPr>
          <p:nvPr>
            <p:ph type="body" idx="1"/>
          </p:nvPr>
        </p:nvSpPr>
        <p:spPr>
          <a:xfrm>
            <a:off x="658800" y="856800"/>
            <a:ext cx="7207200" cy="3726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723200" y="4800600"/>
            <a:ext cx="3142800" cy="108000"/>
          </a:xfrm>
          <a:prstGeom prst="rect">
            <a:avLst/>
          </a:prstGeom>
        </p:spPr>
        <p:txBody>
          <a:bodyPr vert="horz" lIns="0" tIns="0" rIns="0" bIns="0" rtlCol="0" anchor="b" anchorCtr="0"/>
          <a:lstStyle>
            <a:lvl1pPr algn="r">
              <a:defRPr sz="600">
                <a:solidFill>
                  <a:srgbClr val="013C74"/>
                </a:solidFill>
              </a:defRPr>
            </a:lvl1pPr>
          </a:lstStyle>
          <a:p>
            <a:endParaRPr lang="de-DE"/>
          </a:p>
        </p:txBody>
      </p:sp>
      <p:sp>
        <p:nvSpPr>
          <p:cNvPr id="6" name="Slide Number Placeholder 5"/>
          <p:cNvSpPr>
            <a:spLocks noGrp="1"/>
          </p:cNvSpPr>
          <p:nvPr>
            <p:ph type="sldNum" sz="quarter" idx="4"/>
          </p:nvPr>
        </p:nvSpPr>
        <p:spPr>
          <a:xfrm>
            <a:off x="8143200" y="4800600"/>
            <a:ext cx="342000" cy="108000"/>
          </a:xfrm>
          <a:prstGeom prst="rect">
            <a:avLst/>
          </a:prstGeom>
        </p:spPr>
        <p:txBody>
          <a:bodyPr vert="horz" lIns="0" tIns="0" rIns="0" bIns="0" rtlCol="0" anchor="b" anchorCtr="0"/>
          <a:lstStyle>
            <a:lvl1pPr algn="r">
              <a:defRPr sz="600">
                <a:solidFill>
                  <a:srgbClr val="013C74"/>
                </a:solidFill>
              </a:defRPr>
            </a:lvl1pPr>
          </a:lstStyle>
          <a:p>
            <a:fld id="{2B28B3E2-BA40-4815-B230-D28A7A80ABF0}" type="slidenum">
              <a:rPr lang="de-DE" smtClean="0"/>
              <a:pPr/>
              <a:t>‹Nr.›</a:t>
            </a:fld>
            <a:endParaRPr lang="de-DE"/>
          </a:p>
        </p:txBody>
      </p:sp>
      <p:pic>
        <p:nvPicPr>
          <p:cNvPr id="7" name="Bild 7" descr="Element 2.png">
            <a:extLst>
              <a:ext uri="{FF2B5EF4-FFF2-40B4-BE49-F238E27FC236}">
                <a16:creationId xmlns:a16="http://schemas.microsoft.com/office/drawing/2014/main" id="{B909DC9F-3DF0-4082-9C27-A6E524FE9960}"/>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8715180" y="4795252"/>
            <a:ext cx="161424" cy="144000"/>
          </a:xfrm>
          <a:prstGeom prst="rect">
            <a:avLst/>
          </a:prstGeom>
        </p:spPr>
      </p:pic>
    </p:spTree>
    <p:extLst>
      <p:ext uri="{BB962C8B-B14F-4D97-AF65-F5344CB8AC3E}">
        <p14:creationId xmlns:p14="http://schemas.microsoft.com/office/powerpoint/2010/main" val="1621403521"/>
      </p:ext>
    </p:extLst>
  </p:cSld>
  <p:clrMap bg1="lt1" tx1="dk1" bg2="lt2" tx2="dk2" accent1="accent1" accent2="accent2" accent3="accent3" accent4="accent4" accent5="accent5" accent6="accent6" hlink="hlink" folHlink="folHlink"/>
  <p:sldLayoutIdLst>
    <p:sldLayoutId id="2147483661" r:id="rId1"/>
    <p:sldLayoutId id="2147483681" r:id="rId2"/>
    <p:sldLayoutId id="2147483687" r:id="rId3"/>
    <p:sldLayoutId id="2147483688" r:id="rId4"/>
    <p:sldLayoutId id="2147483689" r:id="rId5"/>
    <p:sldLayoutId id="2147483690" r:id="rId6"/>
    <p:sldLayoutId id="2147483691" r:id="rId7"/>
    <p:sldLayoutId id="2147483672" r:id="rId8"/>
    <p:sldLayoutId id="2147483692" r:id="rId9"/>
    <p:sldLayoutId id="2147483693" r:id="rId10"/>
    <p:sldLayoutId id="2147483701" r:id="rId11"/>
    <p:sldLayoutId id="2147483702" r:id="rId12"/>
    <p:sldLayoutId id="2147483662" r:id="rId13"/>
    <p:sldLayoutId id="2147483677" r:id="rId14"/>
    <p:sldLayoutId id="2147483664" r:id="rId15"/>
    <p:sldLayoutId id="2147483673" r:id="rId16"/>
    <p:sldLayoutId id="2147483666" r:id="rId17"/>
    <p:sldLayoutId id="2147483667" r:id="rId18"/>
    <p:sldLayoutId id="2147483704" r:id="rId19"/>
    <p:sldLayoutId id="2147483705" r:id="rId20"/>
    <p:sldLayoutId id="2147483703" r:id="rId21"/>
    <p:sldLayoutId id="2147483706" r:id="rId22"/>
    <p:sldLayoutId id="2147483663" r:id="rId23"/>
    <p:sldLayoutId id="2147483676" r:id="rId24"/>
    <p:sldLayoutId id="2147483678" r:id="rId25"/>
    <p:sldLayoutId id="2147483679" r:id="rId26"/>
    <p:sldLayoutId id="2147483675" r:id="rId27"/>
    <p:sldLayoutId id="2147483694" r:id="rId28"/>
    <p:sldLayoutId id="2147483695" r:id="rId29"/>
    <p:sldLayoutId id="2147483696" r:id="rId30"/>
    <p:sldLayoutId id="2147483697" r:id="rId31"/>
    <p:sldLayoutId id="2147483698" r:id="rId32"/>
    <p:sldLayoutId id="2147483699" r:id="rId33"/>
    <p:sldLayoutId id="2147483700" r:id="rId34"/>
    <p:sldLayoutId id="2147483674" r:id="rId35"/>
    <p:sldLayoutId id="2147483682" r:id="rId36"/>
    <p:sldLayoutId id="2147483683" r:id="rId37"/>
    <p:sldLayoutId id="2147483685" r:id="rId38"/>
    <p:sldLayoutId id="2147483684" r:id="rId39"/>
    <p:sldLayoutId id="2147483686" r:id="rId40"/>
  </p:sldLayoutIdLst>
  <p:hf hdr="0" ftr="0" dt="0"/>
  <p:txStyles>
    <p:titleStyle>
      <a:lvl1pPr algn="l" defTabSz="685800" rtl="0" eaLnBrk="1" latinLnBrk="0" hangingPunct="1">
        <a:lnSpc>
          <a:spcPts val="2600"/>
        </a:lnSpc>
        <a:spcBef>
          <a:spcPct val="0"/>
        </a:spcBef>
        <a:buNone/>
        <a:defRPr sz="2300" b="1" kern="1200">
          <a:solidFill>
            <a:srgbClr val="013C74"/>
          </a:solidFill>
          <a:latin typeface="+mj-lt"/>
          <a:ea typeface="+mj-ea"/>
          <a:cs typeface="+mj-cs"/>
        </a:defRPr>
      </a:lvl1pPr>
    </p:titleStyle>
    <p:bodyStyle>
      <a:lvl1pPr marL="287998" indent="-287998"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1pPr>
      <a:lvl2pPr marL="575996" indent="-287998"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2pPr>
      <a:lvl3pPr marL="863994" indent="-287998"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3pPr>
      <a:lvl4pPr marL="1151903" indent="-287909"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4pPr>
      <a:lvl5pPr marL="1439901" indent="-287998"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5pPr>
      <a:lvl6pPr marL="863994" indent="-287998"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6pPr>
      <a:lvl7pPr marL="863994" indent="0" algn="l" defTabSz="685800" rtl="0" eaLnBrk="1" latinLnBrk="0" hangingPunct="1">
        <a:lnSpc>
          <a:spcPts val="1700"/>
        </a:lnSpc>
        <a:spcBef>
          <a:spcPts val="0"/>
        </a:spcBef>
        <a:spcAft>
          <a:spcPts val="800"/>
        </a:spcAft>
        <a:buFont typeface="Arial" panose="020B0604020202020204" pitchFamily="34" charset="0"/>
        <a:buNone/>
        <a:defRPr sz="1400" kern="1200">
          <a:solidFill>
            <a:srgbClr val="013C74"/>
          </a:solidFill>
          <a:latin typeface="+mn-lt"/>
          <a:ea typeface="+mn-ea"/>
          <a:cs typeface="+mn-cs"/>
        </a:defRPr>
      </a:lvl7pPr>
      <a:lvl8pPr marL="1151903" indent="-287909" algn="l" defTabSz="685800" rtl="0" eaLnBrk="1" latinLnBrk="0" hangingPunct="1">
        <a:lnSpc>
          <a:spcPts val="1700"/>
        </a:lnSpc>
        <a:spcBef>
          <a:spcPts val="0"/>
        </a:spcBef>
        <a:spcAft>
          <a:spcPts val="800"/>
        </a:spcAft>
        <a:buFont typeface="Arial" panose="020B0604020202020204" pitchFamily="34" charset="0"/>
        <a:buChar char="—"/>
        <a:defRPr sz="1400" kern="1200">
          <a:solidFill>
            <a:srgbClr val="013C74"/>
          </a:solidFill>
          <a:latin typeface="+mn-lt"/>
          <a:ea typeface="+mn-ea"/>
          <a:cs typeface="+mn-cs"/>
        </a:defRPr>
      </a:lvl8pPr>
      <a:lvl9pPr marL="1151903" indent="0" algn="l" defTabSz="685800" rtl="0" eaLnBrk="1" latinLnBrk="0" hangingPunct="1">
        <a:lnSpc>
          <a:spcPts val="1700"/>
        </a:lnSpc>
        <a:spcBef>
          <a:spcPts val="0"/>
        </a:spcBef>
        <a:spcAft>
          <a:spcPts val="800"/>
        </a:spcAft>
        <a:buFont typeface="Arial" panose="020B0604020202020204" pitchFamily="34" charset="0"/>
        <a:buNone/>
        <a:defRPr sz="1400" kern="1200">
          <a:solidFill>
            <a:srgbClr val="013C74"/>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14.svg"/><Relationship Id="rId5" Type="http://schemas.openxmlformats.org/officeDocument/2006/relationships/image" Target="../media/image13.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6.xml"/><Relationship Id="rId7" Type="http://schemas.openxmlformats.org/officeDocument/2006/relationships/image" Target="../media/image8.jpeg"/><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oleObject" Target="../embeddings/oleObject2.bin"/><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1B8E60-F797-423F-A0BE-940BFECEB06C}"/>
              </a:ext>
            </a:extLst>
          </p:cNvPr>
          <p:cNvSpPr>
            <a:spLocks noGrp="1"/>
          </p:cNvSpPr>
          <p:nvPr>
            <p:ph type="ctrTitle"/>
          </p:nvPr>
        </p:nvSpPr>
        <p:spPr>
          <a:xfrm>
            <a:off x="658800" y="1146748"/>
            <a:ext cx="7128590" cy="2384852"/>
          </a:xfrm>
        </p:spPr>
        <p:txBody>
          <a:bodyPr/>
          <a:lstStyle/>
          <a:p>
            <a:pPr>
              <a:lnSpc>
                <a:spcPct val="100000"/>
              </a:lnSpc>
            </a:pPr>
            <a:r>
              <a:rPr lang="de-DE" sz="2800" dirty="0"/>
              <a:t>Weg vom russischen Gas, mit schnellem Infrastrukturausbau –</a:t>
            </a:r>
            <a:r>
              <a:rPr lang="de-DE" sz="1600" dirty="0"/>
              <a:t> </a:t>
            </a:r>
            <a:br>
              <a:rPr lang="de-DE" sz="1600" dirty="0"/>
            </a:br>
            <a:r>
              <a:rPr lang="de-DE" sz="2800" dirty="0"/>
              <a:t>am Beispiel der Anschlussleitung zum LNG-Terminal Wilhelmshaven</a:t>
            </a:r>
          </a:p>
        </p:txBody>
      </p:sp>
      <p:sp>
        <p:nvSpPr>
          <p:cNvPr id="3" name="Untertitel 2">
            <a:extLst>
              <a:ext uri="{FF2B5EF4-FFF2-40B4-BE49-F238E27FC236}">
                <a16:creationId xmlns:a16="http://schemas.microsoft.com/office/drawing/2014/main" id="{4D6C18FC-6CAE-4CCC-933D-1E4961177F79}"/>
              </a:ext>
            </a:extLst>
          </p:cNvPr>
          <p:cNvSpPr>
            <a:spLocks noGrp="1"/>
          </p:cNvSpPr>
          <p:nvPr>
            <p:ph type="subTitle" idx="1"/>
          </p:nvPr>
        </p:nvSpPr>
        <p:spPr/>
        <p:txBody>
          <a:bodyPr/>
          <a:lstStyle/>
          <a:p>
            <a:pPr>
              <a:spcAft>
                <a:spcPts val="0"/>
              </a:spcAft>
            </a:pPr>
            <a:endParaRPr lang="de-DE" sz="1400" dirty="0"/>
          </a:p>
          <a:p>
            <a:pPr>
              <a:spcAft>
                <a:spcPts val="0"/>
              </a:spcAft>
            </a:pPr>
            <a:endParaRPr lang="de-DE" dirty="0"/>
          </a:p>
          <a:p>
            <a:pPr>
              <a:spcAft>
                <a:spcPts val="0"/>
              </a:spcAft>
            </a:pPr>
            <a:endParaRPr lang="de-DE" sz="1400" dirty="0"/>
          </a:p>
          <a:p>
            <a:pPr>
              <a:spcAft>
                <a:spcPts val="0"/>
              </a:spcAft>
            </a:pPr>
            <a:r>
              <a:rPr lang="de-DE" sz="1200" b="1" dirty="0"/>
              <a:t>André Brauner</a:t>
            </a:r>
          </a:p>
          <a:p>
            <a:pPr>
              <a:spcAft>
                <a:spcPts val="0"/>
              </a:spcAft>
            </a:pPr>
            <a:r>
              <a:rPr lang="de-DE" sz="1200" dirty="0"/>
              <a:t>Rechtsanwalt (Syndikusrechtsanwalt)</a:t>
            </a:r>
          </a:p>
          <a:p>
            <a:pPr>
              <a:spcAft>
                <a:spcPts val="0"/>
              </a:spcAft>
            </a:pPr>
            <a:r>
              <a:rPr lang="de-DE" sz="1200" dirty="0"/>
              <a:t>Abteilungsleiter Liegenschafts- und Planungsrecht</a:t>
            </a:r>
          </a:p>
          <a:p>
            <a:endParaRPr lang="de-DE" dirty="0"/>
          </a:p>
        </p:txBody>
      </p:sp>
    </p:spTree>
    <p:extLst>
      <p:ext uri="{BB962C8B-B14F-4D97-AF65-F5344CB8AC3E}">
        <p14:creationId xmlns:p14="http://schemas.microsoft.com/office/powerpoint/2010/main" val="28449816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2EF85A-F6E6-44FC-A813-F53B030981F8}"/>
              </a:ext>
            </a:extLst>
          </p:cNvPr>
          <p:cNvSpPr>
            <a:spLocks noGrp="1"/>
          </p:cNvSpPr>
          <p:nvPr>
            <p:ph type="title"/>
          </p:nvPr>
        </p:nvSpPr>
        <p:spPr/>
        <p:txBody>
          <a:bodyPr/>
          <a:lstStyle/>
          <a:p>
            <a:pPr>
              <a:lnSpc>
                <a:spcPct val="100000"/>
              </a:lnSpc>
            </a:pPr>
            <a:r>
              <a:rPr lang="de-DE" sz="4000" b="1" dirty="0"/>
              <a:t>Infrastrukturmaßnahmen zur Importdiversifikation</a:t>
            </a:r>
            <a:endParaRPr lang="de-DE" sz="3600" dirty="0"/>
          </a:p>
        </p:txBody>
      </p:sp>
      <p:sp>
        <p:nvSpPr>
          <p:cNvPr id="3" name="Foliennummernplatzhalter 2">
            <a:extLst>
              <a:ext uri="{FF2B5EF4-FFF2-40B4-BE49-F238E27FC236}">
                <a16:creationId xmlns:a16="http://schemas.microsoft.com/office/drawing/2014/main" id="{3AE1AB2F-E585-4E00-8BB2-4E62E4323AE7}"/>
              </a:ext>
            </a:extLst>
          </p:cNvPr>
          <p:cNvSpPr>
            <a:spLocks noGrp="1"/>
          </p:cNvSpPr>
          <p:nvPr>
            <p:ph type="sldNum" sz="quarter" idx="12"/>
          </p:nvPr>
        </p:nvSpPr>
        <p:spPr/>
        <p:txBody>
          <a:bodyPr/>
          <a:lstStyle/>
          <a:p>
            <a:fld id="{2B28B3E2-BA40-4815-B230-D28A7A80ABF0}" type="slidenum">
              <a:rPr lang="de-DE" smtClean="0"/>
              <a:t>10</a:t>
            </a:fld>
            <a:endParaRPr lang="de-DE"/>
          </a:p>
        </p:txBody>
      </p:sp>
      <p:sp>
        <p:nvSpPr>
          <p:cNvPr id="4" name="Fußzeilenplatzhalter 2">
            <a:extLst>
              <a:ext uri="{FF2B5EF4-FFF2-40B4-BE49-F238E27FC236}">
                <a16:creationId xmlns:a16="http://schemas.microsoft.com/office/drawing/2014/main" id="{64354EB5-3A13-404F-B6A1-2F55DC3F92A3}"/>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16527366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791DA1AE-5889-4811-8E91-4B5A5EACAD0D}"/>
              </a:ext>
            </a:extLst>
          </p:cNvPr>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3916639" y="778591"/>
            <a:ext cx="5227361" cy="2085232"/>
          </a:xfrm>
          <a:prstGeom prst="rect">
            <a:avLst/>
          </a:prstGeom>
        </p:spPr>
      </p:pic>
      <p:sp>
        <p:nvSpPr>
          <p:cNvPr id="2" name="Titel 1">
            <a:extLst>
              <a:ext uri="{FF2B5EF4-FFF2-40B4-BE49-F238E27FC236}">
                <a16:creationId xmlns:a16="http://schemas.microsoft.com/office/drawing/2014/main" id="{C5BE9767-97DB-437C-B592-FB4C73BF9F4F}"/>
              </a:ext>
            </a:extLst>
          </p:cNvPr>
          <p:cNvSpPr>
            <a:spLocks noGrp="1"/>
          </p:cNvSpPr>
          <p:nvPr>
            <p:ph type="title"/>
          </p:nvPr>
        </p:nvSpPr>
        <p:spPr/>
        <p:txBody>
          <a:bodyPr/>
          <a:lstStyle/>
          <a:p>
            <a:r>
              <a:rPr lang="de-DE" dirty="0"/>
              <a:t>Vorhabenstandorte gemäß der Anlage zum LNGG</a:t>
            </a:r>
          </a:p>
        </p:txBody>
      </p:sp>
      <p:sp>
        <p:nvSpPr>
          <p:cNvPr id="3" name="Inhaltsplatzhalter 2">
            <a:extLst>
              <a:ext uri="{FF2B5EF4-FFF2-40B4-BE49-F238E27FC236}">
                <a16:creationId xmlns:a16="http://schemas.microsoft.com/office/drawing/2014/main" id="{634E993F-66D8-40BE-80E0-0B7624B464F0}"/>
              </a:ext>
            </a:extLst>
          </p:cNvPr>
          <p:cNvSpPr>
            <a:spLocks noGrp="1"/>
          </p:cNvSpPr>
          <p:nvPr>
            <p:ph idx="1"/>
          </p:nvPr>
        </p:nvSpPr>
        <p:spPr/>
        <p:txBody>
          <a:bodyPr/>
          <a:lstStyle/>
          <a:p>
            <a:pPr marL="342900" indent="-342900">
              <a:buAutoNum type="arabicPeriod"/>
            </a:pPr>
            <a:r>
              <a:rPr lang="de-DE" b="1" dirty="0"/>
              <a:t>Brunsbüttel (Schleswig-Holstein)</a:t>
            </a:r>
          </a:p>
          <a:p>
            <a:pPr lvl="4"/>
            <a:r>
              <a:rPr lang="de-DE" dirty="0"/>
              <a:t>1 x FSRU / 1x LNG-Terminal / Leitungen</a:t>
            </a:r>
          </a:p>
          <a:p>
            <a:pPr marL="342900" indent="-342900">
              <a:buAutoNum type="arabicPeriod"/>
            </a:pPr>
            <a:r>
              <a:rPr lang="de-DE" b="1" dirty="0"/>
              <a:t>Wilhelmshaven (Niedersachsen)</a:t>
            </a:r>
          </a:p>
          <a:p>
            <a:pPr lvl="3" indent="0">
              <a:buNone/>
            </a:pPr>
            <a:r>
              <a:rPr lang="de-DE" dirty="0"/>
              <a:t>3 x FSRU / 1 x LNG-Terminal / Leitungen</a:t>
            </a:r>
          </a:p>
          <a:p>
            <a:pPr marL="342900" indent="-342900">
              <a:buAutoNum type="arabicPeriod"/>
            </a:pPr>
            <a:r>
              <a:rPr lang="de-DE" b="1" dirty="0"/>
              <a:t>Stade / </a:t>
            </a:r>
            <a:r>
              <a:rPr lang="de-DE" b="1" dirty="0" err="1"/>
              <a:t>Bützfleth</a:t>
            </a:r>
            <a:r>
              <a:rPr lang="de-DE" b="1" dirty="0"/>
              <a:t> (Niedersachsen)</a:t>
            </a:r>
          </a:p>
          <a:p>
            <a:pPr lvl="4"/>
            <a:r>
              <a:rPr lang="de-DE" dirty="0"/>
              <a:t>1 x FSRU / 1 x LNG-Terminal / Leitung</a:t>
            </a:r>
          </a:p>
          <a:p>
            <a:pPr marL="342900" indent="-342900">
              <a:buAutoNum type="arabicPeriod"/>
            </a:pPr>
            <a:r>
              <a:rPr lang="de-DE" b="1" dirty="0"/>
              <a:t>Hamburg / Moorburg (Hamburg)</a:t>
            </a:r>
          </a:p>
          <a:p>
            <a:pPr lvl="4"/>
            <a:r>
              <a:rPr lang="de-DE" dirty="0"/>
              <a:t>1 x FSRU / Leitung</a:t>
            </a:r>
          </a:p>
          <a:p>
            <a:pPr marL="342900" indent="-342900">
              <a:buAutoNum type="arabicPeriod"/>
            </a:pPr>
            <a:r>
              <a:rPr lang="de-DE" b="1" dirty="0"/>
              <a:t>Rostock / Hafen (Mecklenburg-Vorpommern)</a:t>
            </a:r>
          </a:p>
          <a:p>
            <a:pPr lvl="4"/>
            <a:r>
              <a:rPr lang="de-DE" dirty="0"/>
              <a:t>1 x FSRU / 1 x LNG-Terminal / Leitungen</a:t>
            </a:r>
          </a:p>
          <a:p>
            <a:pPr marL="342900" indent="-342900">
              <a:buAutoNum type="arabicPeriod"/>
            </a:pPr>
            <a:r>
              <a:rPr lang="de-DE" b="1" dirty="0"/>
              <a:t>Lubmin (Mecklenburg-Vorpommern)</a:t>
            </a:r>
          </a:p>
          <a:p>
            <a:pPr lvl="4"/>
            <a:r>
              <a:rPr lang="de-DE" dirty="0"/>
              <a:t>1 x FSRU / Leitung</a:t>
            </a:r>
          </a:p>
        </p:txBody>
      </p:sp>
      <p:sp>
        <p:nvSpPr>
          <p:cNvPr id="4" name="Foliennummernplatzhalter 3">
            <a:extLst>
              <a:ext uri="{FF2B5EF4-FFF2-40B4-BE49-F238E27FC236}">
                <a16:creationId xmlns:a16="http://schemas.microsoft.com/office/drawing/2014/main" id="{4DDBE146-99BB-473E-89B6-E19FDE4419D7}"/>
              </a:ext>
            </a:extLst>
          </p:cNvPr>
          <p:cNvSpPr>
            <a:spLocks noGrp="1"/>
          </p:cNvSpPr>
          <p:nvPr>
            <p:ph type="sldNum" sz="quarter" idx="12"/>
          </p:nvPr>
        </p:nvSpPr>
        <p:spPr/>
        <p:txBody>
          <a:bodyPr/>
          <a:lstStyle/>
          <a:p>
            <a:fld id="{2B28B3E2-BA40-4815-B230-D28A7A80ABF0}" type="slidenum">
              <a:rPr lang="de-DE" smtClean="0"/>
              <a:t>11</a:t>
            </a:fld>
            <a:endParaRPr lang="de-DE"/>
          </a:p>
        </p:txBody>
      </p:sp>
      <p:sp>
        <p:nvSpPr>
          <p:cNvPr id="8" name="Textfeld 7">
            <a:extLst>
              <a:ext uri="{FF2B5EF4-FFF2-40B4-BE49-F238E27FC236}">
                <a16:creationId xmlns:a16="http://schemas.microsoft.com/office/drawing/2014/main" id="{88EA9AA4-ECC5-4FE6-98C7-00DD14BF6241}"/>
              </a:ext>
            </a:extLst>
          </p:cNvPr>
          <p:cNvSpPr txBox="1"/>
          <p:nvPr/>
        </p:nvSpPr>
        <p:spPr>
          <a:xfrm>
            <a:off x="5394632" y="1678700"/>
            <a:ext cx="597030" cy="170406"/>
          </a:xfrm>
          <a:prstGeom prst="rect">
            <a:avLst/>
          </a:prstGeom>
          <a:noFill/>
        </p:spPr>
        <p:txBody>
          <a:bodyPr wrap="none" lIns="0" tIns="0" rIns="0" bIns="0" rtlCol="0" anchor="ctr">
            <a:noAutofit/>
          </a:bodyPr>
          <a:lstStyle/>
          <a:p>
            <a:pPr algn="r">
              <a:lnSpc>
                <a:spcPts val="1700"/>
              </a:lnSpc>
              <a:spcAft>
                <a:spcPts val="800"/>
              </a:spcAft>
            </a:pPr>
            <a:r>
              <a:rPr lang="de-DE" sz="500" dirty="0"/>
              <a:t>Brunsbüttel</a:t>
            </a:r>
            <a:endParaRPr lang="de-DE" sz="700" dirty="0"/>
          </a:p>
        </p:txBody>
      </p:sp>
      <p:pic>
        <p:nvPicPr>
          <p:cNvPr id="9" name="Grafik 8" descr="Anheften mit einfarbiger Füllung">
            <a:extLst>
              <a:ext uri="{FF2B5EF4-FFF2-40B4-BE49-F238E27FC236}">
                <a16:creationId xmlns:a16="http://schemas.microsoft.com/office/drawing/2014/main" id="{055FBAF1-00F1-4A28-A37A-2D30A99542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5452263" y="1489147"/>
            <a:ext cx="299574" cy="290736"/>
          </a:xfrm>
          <a:prstGeom prst="rect">
            <a:avLst/>
          </a:prstGeom>
        </p:spPr>
      </p:pic>
      <p:pic>
        <p:nvPicPr>
          <p:cNvPr id="10" name="Grafik 9" descr="Anheften mit einfarbiger Füllung">
            <a:extLst>
              <a:ext uri="{FF2B5EF4-FFF2-40B4-BE49-F238E27FC236}">
                <a16:creationId xmlns:a16="http://schemas.microsoft.com/office/drawing/2014/main" id="{ADC47D55-6AAC-41A7-BC16-31504842B3E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5806744" y="1865141"/>
            <a:ext cx="299574" cy="290736"/>
          </a:xfrm>
          <a:prstGeom prst="rect">
            <a:avLst/>
          </a:prstGeom>
        </p:spPr>
      </p:pic>
      <p:pic>
        <p:nvPicPr>
          <p:cNvPr id="11" name="Grafik 10" descr="Anheften mit einfarbiger Füllung">
            <a:extLst>
              <a:ext uri="{FF2B5EF4-FFF2-40B4-BE49-F238E27FC236}">
                <a16:creationId xmlns:a16="http://schemas.microsoft.com/office/drawing/2014/main" id="{76A57696-D4AF-4237-80FB-1EB18A0B7A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8051042" y="1269644"/>
            <a:ext cx="299574" cy="290736"/>
          </a:xfrm>
          <a:prstGeom prst="rect">
            <a:avLst/>
          </a:prstGeom>
        </p:spPr>
      </p:pic>
      <p:pic>
        <p:nvPicPr>
          <p:cNvPr id="12" name="Grafik 11" descr="Anheften mit einfarbiger Füllung">
            <a:extLst>
              <a:ext uri="{FF2B5EF4-FFF2-40B4-BE49-F238E27FC236}">
                <a16:creationId xmlns:a16="http://schemas.microsoft.com/office/drawing/2014/main" id="{437CA562-FBB0-4183-B4DB-C497AC3454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5012583" y="1778316"/>
            <a:ext cx="299574" cy="290736"/>
          </a:xfrm>
          <a:prstGeom prst="rect">
            <a:avLst/>
          </a:prstGeom>
        </p:spPr>
      </p:pic>
      <p:pic>
        <p:nvPicPr>
          <p:cNvPr id="13" name="Grafik 12" descr="Anheften mit einfarbiger Füllung">
            <a:extLst>
              <a:ext uri="{FF2B5EF4-FFF2-40B4-BE49-F238E27FC236}">
                <a16:creationId xmlns:a16="http://schemas.microsoft.com/office/drawing/2014/main" id="{0FA36486-79FF-488E-B760-4B74732712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7174700" y="1269644"/>
            <a:ext cx="299574" cy="290736"/>
          </a:xfrm>
          <a:prstGeom prst="rect">
            <a:avLst/>
          </a:prstGeom>
        </p:spPr>
      </p:pic>
      <p:pic>
        <p:nvPicPr>
          <p:cNvPr id="14" name="Grafik 13" descr="Anheften mit einfarbiger Füllung">
            <a:extLst>
              <a:ext uri="{FF2B5EF4-FFF2-40B4-BE49-F238E27FC236}">
                <a16:creationId xmlns:a16="http://schemas.microsoft.com/office/drawing/2014/main" id="{0C2CD221-73F7-41C3-8BFD-2FF3A96269C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370067" flipH="1">
            <a:off x="5959449" y="1841940"/>
            <a:ext cx="299574" cy="290736"/>
          </a:xfrm>
          <a:prstGeom prst="rect">
            <a:avLst/>
          </a:prstGeom>
        </p:spPr>
      </p:pic>
      <p:sp>
        <p:nvSpPr>
          <p:cNvPr id="15" name="Textfeld 14">
            <a:extLst>
              <a:ext uri="{FF2B5EF4-FFF2-40B4-BE49-F238E27FC236}">
                <a16:creationId xmlns:a16="http://schemas.microsoft.com/office/drawing/2014/main" id="{900E78A7-6153-478B-BC03-6BF389F5CDA7}"/>
              </a:ext>
            </a:extLst>
          </p:cNvPr>
          <p:cNvSpPr txBox="1"/>
          <p:nvPr/>
        </p:nvSpPr>
        <p:spPr>
          <a:xfrm>
            <a:off x="4949503" y="1987110"/>
            <a:ext cx="597030" cy="170406"/>
          </a:xfrm>
          <a:prstGeom prst="rect">
            <a:avLst/>
          </a:prstGeom>
          <a:noFill/>
        </p:spPr>
        <p:txBody>
          <a:bodyPr wrap="none" lIns="0" tIns="0" rIns="0" bIns="0" rtlCol="0" anchor="ctr">
            <a:noAutofit/>
          </a:bodyPr>
          <a:lstStyle/>
          <a:p>
            <a:pPr algn="r">
              <a:lnSpc>
                <a:spcPts val="1700"/>
              </a:lnSpc>
              <a:spcAft>
                <a:spcPts val="800"/>
              </a:spcAft>
            </a:pPr>
            <a:r>
              <a:rPr lang="de-DE" sz="500" dirty="0"/>
              <a:t>Wilhelmshaven)</a:t>
            </a:r>
            <a:endParaRPr lang="de-DE" sz="700" dirty="0"/>
          </a:p>
        </p:txBody>
      </p:sp>
      <p:sp>
        <p:nvSpPr>
          <p:cNvPr id="16" name="Textfeld 15">
            <a:extLst>
              <a:ext uri="{FF2B5EF4-FFF2-40B4-BE49-F238E27FC236}">
                <a16:creationId xmlns:a16="http://schemas.microsoft.com/office/drawing/2014/main" id="{7713A449-55AF-4339-BD41-7875BC08698D}"/>
              </a:ext>
            </a:extLst>
          </p:cNvPr>
          <p:cNvSpPr txBox="1"/>
          <p:nvPr/>
        </p:nvSpPr>
        <p:spPr>
          <a:xfrm>
            <a:off x="5353112" y="2010509"/>
            <a:ext cx="597030" cy="170406"/>
          </a:xfrm>
          <a:prstGeom prst="rect">
            <a:avLst/>
          </a:prstGeom>
          <a:noFill/>
        </p:spPr>
        <p:txBody>
          <a:bodyPr wrap="none" lIns="0" tIns="0" rIns="0" bIns="0" rtlCol="0" anchor="ctr">
            <a:noAutofit/>
          </a:bodyPr>
          <a:lstStyle/>
          <a:p>
            <a:pPr algn="r">
              <a:lnSpc>
                <a:spcPts val="1700"/>
              </a:lnSpc>
              <a:spcAft>
                <a:spcPts val="800"/>
              </a:spcAft>
            </a:pPr>
            <a:r>
              <a:rPr lang="de-DE" sz="500" dirty="0"/>
              <a:t>Stade</a:t>
            </a:r>
            <a:endParaRPr lang="de-DE" sz="700" dirty="0"/>
          </a:p>
        </p:txBody>
      </p:sp>
      <p:sp>
        <p:nvSpPr>
          <p:cNvPr id="18" name="Textfeld 17">
            <a:extLst>
              <a:ext uri="{FF2B5EF4-FFF2-40B4-BE49-F238E27FC236}">
                <a16:creationId xmlns:a16="http://schemas.microsoft.com/office/drawing/2014/main" id="{2648771E-2D8D-4019-9518-1C7B9151EC42}"/>
              </a:ext>
            </a:extLst>
          </p:cNvPr>
          <p:cNvSpPr txBox="1"/>
          <p:nvPr/>
        </p:nvSpPr>
        <p:spPr>
          <a:xfrm>
            <a:off x="7888170" y="1415012"/>
            <a:ext cx="597030" cy="170406"/>
          </a:xfrm>
          <a:prstGeom prst="rect">
            <a:avLst/>
          </a:prstGeom>
          <a:noFill/>
        </p:spPr>
        <p:txBody>
          <a:bodyPr wrap="none" lIns="0" tIns="0" rIns="0" bIns="0" rtlCol="0" anchor="ctr">
            <a:noAutofit/>
          </a:bodyPr>
          <a:lstStyle/>
          <a:p>
            <a:pPr algn="r">
              <a:lnSpc>
                <a:spcPts val="1700"/>
              </a:lnSpc>
              <a:spcAft>
                <a:spcPts val="800"/>
              </a:spcAft>
            </a:pPr>
            <a:r>
              <a:rPr lang="de-DE" sz="500" dirty="0"/>
              <a:t>Lubmin</a:t>
            </a:r>
            <a:endParaRPr lang="de-DE" sz="700" dirty="0"/>
          </a:p>
        </p:txBody>
      </p:sp>
    </p:spTree>
    <p:extLst>
      <p:ext uri="{BB962C8B-B14F-4D97-AF65-F5344CB8AC3E}">
        <p14:creationId xmlns:p14="http://schemas.microsoft.com/office/powerpoint/2010/main" val="1776375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406416-D2A3-4B50-94B3-CCAEF9DED280}"/>
              </a:ext>
            </a:extLst>
          </p:cNvPr>
          <p:cNvSpPr>
            <a:spLocks noGrp="1"/>
          </p:cNvSpPr>
          <p:nvPr>
            <p:ph type="title"/>
          </p:nvPr>
        </p:nvSpPr>
        <p:spPr/>
        <p:txBody>
          <a:bodyPr/>
          <a:lstStyle/>
          <a:p>
            <a:r>
              <a:rPr lang="de-DE" dirty="0"/>
              <a:t>Beschleunigter Hochlauf für Wasserstoff</a:t>
            </a:r>
          </a:p>
        </p:txBody>
      </p:sp>
      <p:sp>
        <p:nvSpPr>
          <p:cNvPr id="3" name="Inhaltsplatzhalter 2">
            <a:extLst>
              <a:ext uri="{FF2B5EF4-FFF2-40B4-BE49-F238E27FC236}">
                <a16:creationId xmlns:a16="http://schemas.microsoft.com/office/drawing/2014/main" id="{33937347-3C67-4F1B-83DA-C9763BAF73EF}"/>
              </a:ext>
            </a:extLst>
          </p:cNvPr>
          <p:cNvSpPr>
            <a:spLocks noGrp="1"/>
          </p:cNvSpPr>
          <p:nvPr>
            <p:ph sz="half" idx="1"/>
          </p:nvPr>
        </p:nvSpPr>
        <p:spPr>
          <a:xfrm>
            <a:off x="658800" y="856800"/>
            <a:ext cx="7826400" cy="3726000"/>
          </a:xfrm>
        </p:spPr>
        <p:txBody>
          <a:bodyPr/>
          <a:lstStyle/>
          <a:p>
            <a:pPr marL="0" indent="0">
              <a:buNone/>
            </a:pPr>
            <a:r>
              <a:rPr lang="de-DE" dirty="0"/>
              <a:t>„</a:t>
            </a:r>
            <a:r>
              <a:rPr lang="de-DE" b="1" dirty="0"/>
              <a:t>Die Errichtung von Wasserstoffleitungen liegt bis zum 31. Dezember 2025 im überragenden öffentlichen Interesse.“ </a:t>
            </a:r>
            <a:r>
              <a:rPr lang="de-DE" dirty="0"/>
              <a:t>(§ 43l Abs. 1 neu EnWG-Osternovelle 2022)</a:t>
            </a:r>
          </a:p>
          <a:p>
            <a:pPr marL="0" indent="0">
              <a:buNone/>
            </a:pPr>
            <a:endParaRPr lang="de-DE" dirty="0"/>
          </a:p>
        </p:txBody>
      </p:sp>
      <p:sp>
        <p:nvSpPr>
          <p:cNvPr id="4" name="Inhaltsplatzhalter 3">
            <a:extLst>
              <a:ext uri="{FF2B5EF4-FFF2-40B4-BE49-F238E27FC236}">
                <a16:creationId xmlns:a16="http://schemas.microsoft.com/office/drawing/2014/main" id="{237CB75C-91D1-4CF3-A164-262017B4F23D}"/>
              </a:ext>
            </a:extLst>
          </p:cNvPr>
          <p:cNvSpPr>
            <a:spLocks noGrp="1"/>
          </p:cNvSpPr>
          <p:nvPr>
            <p:ph sz="half" idx="2"/>
          </p:nvPr>
        </p:nvSpPr>
        <p:spPr>
          <a:xfrm>
            <a:off x="658800" y="1551482"/>
            <a:ext cx="2841403" cy="3990689"/>
          </a:xfrm>
        </p:spPr>
        <p:txBody>
          <a:bodyPr/>
          <a:lstStyle/>
          <a:p>
            <a:pPr marL="0" indent="0">
              <a:buNone/>
            </a:pPr>
            <a:r>
              <a:rPr lang="de-DE" b="1" dirty="0"/>
              <a:t>Protokollnotiz</a:t>
            </a:r>
            <a:r>
              <a:rPr lang="de-DE" dirty="0"/>
              <a:t>: „Die Befristung des überragenden öffentlichen Interesses der Wasserstoffnetze bis zum 31.12.2025 ist im Zusammenhang mit der Erstellung einer Wasserstoffnetzplanung zu sehen. Sobald der Netzentwicklungsplan vorliegt oder spätestens nach dem 31.12.2025 sind Wasserstoffnetze im überragenden öffentlichen Interesse, wenn ihr Bedarf festgestellt wird.“ </a:t>
            </a:r>
          </a:p>
          <a:p>
            <a:pPr marL="0" indent="0">
              <a:buNone/>
            </a:pPr>
            <a:endParaRPr lang="de-DE" dirty="0"/>
          </a:p>
        </p:txBody>
      </p:sp>
      <p:sp>
        <p:nvSpPr>
          <p:cNvPr id="5" name="Foliennummernplatzhalter 4">
            <a:extLst>
              <a:ext uri="{FF2B5EF4-FFF2-40B4-BE49-F238E27FC236}">
                <a16:creationId xmlns:a16="http://schemas.microsoft.com/office/drawing/2014/main" id="{561AE9A0-9ED5-4E3D-A61C-6BD052781F5D}"/>
              </a:ext>
            </a:extLst>
          </p:cNvPr>
          <p:cNvSpPr>
            <a:spLocks noGrp="1"/>
          </p:cNvSpPr>
          <p:nvPr>
            <p:ph type="sldNum" sz="quarter" idx="12"/>
          </p:nvPr>
        </p:nvSpPr>
        <p:spPr/>
        <p:txBody>
          <a:bodyPr/>
          <a:lstStyle/>
          <a:p>
            <a:fld id="{2B28B3E2-BA40-4815-B230-D28A7A80ABF0}" type="slidenum">
              <a:rPr lang="de-DE" smtClean="0"/>
              <a:t>12</a:t>
            </a:fld>
            <a:endParaRPr lang="de-DE"/>
          </a:p>
        </p:txBody>
      </p:sp>
      <p:pic>
        <p:nvPicPr>
          <p:cNvPr id="6" name="Inhaltsplatzhalter 6">
            <a:extLst>
              <a:ext uri="{FF2B5EF4-FFF2-40B4-BE49-F238E27FC236}">
                <a16:creationId xmlns:a16="http://schemas.microsoft.com/office/drawing/2014/main" id="{F50181A9-4968-47D1-A4BF-EDC8B3211A7C}"/>
              </a:ext>
            </a:extLst>
          </p:cNvPr>
          <p:cNvPicPr>
            <a:picLocks noChangeAspect="1"/>
          </p:cNvPicPr>
          <p:nvPr/>
        </p:nvPicPr>
        <p:blipFill>
          <a:blip r:embed="rId3"/>
          <a:stretch>
            <a:fillRect/>
          </a:stretch>
        </p:blipFill>
        <p:spPr>
          <a:xfrm>
            <a:off x="3500203" y="1485885"/>
            <a:ext cx="5067734" cy="2870411"/>
          </a:xfrm>
          <a:prstGeom prst="rect">
            <a:avLst/>
          </a:prstGeom>
        </p:spPr>
      </p:pic>
    </p:spTree>
    <p:extLst>
      <p:ext uri="{BB962C8B-B14F-4D97-AF65-F5344CB8AC3E}">
        <p14:creationId xmlns:p14="http://schemas.microsoft.com/office/powerpoint/2010/main" val="2548260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783907-9138-40D3-8670-95472B7ACB3B}"/>
              </a:ext>
            </a:extLst>
          </p:cNvPr>
          <p:cNvSpPr>
            <a:spLocks noGrp="1"/>
          </p:cNvSpPr>
          <p:nvPr>
            <p:ph type="title"/>
          </p:nvPr>
        </p:nvSpPr>
        <p:spPr/>
        <p:txBody>
          <a:bodyPr/>
          <a:lstStyle/>
          <a:p>
            <a:pPr>
              <a:lnSpc>
                <a:spcPct val="100000"/>
              </a:lnSpc>
            </a:pPr>
            <a:r>
              <a:rPr lang="de-DE" sz="4000" b="1" dirty="0"/>
              <a:t>Wilhelmshavener-Anschluss-Leitung (WAL)</a:t>
            </a:r>
            <a:endParaRPr lang="de-DE" sz="4000" dirty="0"/>
          </a:p>
        </p:txBody>
      </p:sp>
      <p:sp>
        <p:nvSpPr>
          <p:cNvPr id="3" name="Foliennummernplatzhalter 2">
            <a:extLst>
              <a:ext uri="{FF2B5EF4-FFF2-40B4-BE49-F238E27FC236}">
                <a16:creationId xmlns:a16="http://schemas.microsoft.com/office/drawing/2014/main" id="{E5533E52-7CBF-4EDF-8DED-A729AE53D602}"/>
              </a:ext>
            </a:extLst>
          </p:cNvPr>
          <p:cNvSpPr>
            <a:spLocks noGrp="1"/>
          </p:cNvSpPr>
          <p:nvPr>
            <p:ph type="sldNum" sz="quarter" idx="12"/>
          </p:nvPr>
        </p:nvSpPr>
        <p:spPr/>
        <p:txBody>
          <a:bodyPr/>
          <a:lstStyle/>
          <a:p>
            <a:fld id="{2B28B3E2-BA40-4815-B230-D28A7A80ABF0}" type="slidenum">
              <a:rPr lang="de-DE" smtClean="0"/>
              <a:t>13</a:t>
            </a:fld>
            <a:endParaRPr lang="de-DE"/>
          </a:p>
        </p:txBody>
      </p:sp>
      <p:sp>
        <p:nvSpPr>
          <p:cNvPr id="4" name="Fußzeilenplatzhalter 2">
            <a:extLst>
              <a:ext uri="{FF2B5EF4-FFF2-40B4-BE49-F238E27FC236}">
                <a16:creationId xmlns:a16="http://schemas.microsoft.com/office/drawing/2014/main" id="{37ECF45D-545C-433D-9738-F618ABA47BC7}"/>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3561738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411245D-CE17-44D1-980D-061A073F7C82}"/>
              </a:ext>
            </a:extLst>
          </p:cNvPr>
          <p:cNvSpPr>
            <a:spLocks noGrp="1"/>
          </p:cNvSpPr>
          <p:nvPr>
            <p:ph type="sldNum" sz="quarter" idx="12"/>
          </p:nvPr>
        </p:nvSpPr>
        <p:spPr>
          <a:xfrm>
            <a:off x="8143200" y="4800600"/>
            <a:ext cx="342000" cy="108000"/>
          </a:xfrm>
        </p:spPr>
        <p:txBody>
          <a:bodyPr anchor="b">
            <a:normAutofit/>
          </a:bodyPr>
          <a:lstStyle/>
          <a:p>
            <a:pPr>
              <a:spcAft>
                <a:spcPts val="600"/>
              </a:spcAft>
            </a:pPr>
            <a:fld id="{2B28B3E2-BA40-4815-B230-D28A7A80ABF0}" type="slidenum">
              <a:rPr lang="de-DE" smtClean="0"/>
              <a:pPr>
                <a:spcAft>
                  <a:spcPts val="600"/>
                </a:spcAft>
              </a:pPr>
              <a:t>14</a:t>
            </a:fld>
            <a:endParaRPr lang="de-DE"/>
          </a:p>
        </p:txBody>
      </p:sp>
      <p:sp>
        <p:nvSpPr>
          <p:cNvPr id="62" name="Inhaltsplatzhalter 2">
            <a:extLst>
              <a:ext uri="{FF2B5EF4-FFF2-40B4-BE49-F238E27FC236}">
                <a16:creationId xmlns:a16="http://schemas.microsoft.com/office/drawing/2014/main" id="{3AA36310-2A57-4D2C-8167-E8ECA8E72EFF}"/>
              </a:ext>
            </a:extLst>
          </p:cNvPr>
          <p:cNvSpPr>
            <a:spLocks noGrp="1"/>
          </p:cNvSpPr>
          <p:nvPr>
            <p:ph sz="half" idx="1"/>
          </p:nvPr>
        </p:nvSpPr>
        <p:spPr>
          <a:xfrm>
            <a:off x="330732" y="981375"/>
            <a:ext cx="4522535" cy="4162125"/>
          </a:xfrm>
        </p:spPr>
        <p:txBody>
          <a:bodyPr vert="horz" lIns="0" tIns="0" rIns="0" bIns="0" rtlCol="0" anchor="t">
            <a:noAutofit/>
          </a:bodyPr>
          <a:lstStyle/>
          <a:p>
            <a:pPr marL="0" indent="0">
              <a:lnSpc>
                <a:spcPct val="100000"/>
              </a:lnSpc>
              <a:buNone/>
            </a:pPr>
            <a:r>
              <a:rPr lang="de-DE" b="1" u="sng" dirty="0">
                <a:latin typeface="+mj-lt"/>
                <a:ea typeface="+mj-ea"/>
                <a:cs typeface="+mj-cs"/>
              </a:rPr>
              <a:t>WAL 1 (~ 10 </a:t>
            </a:r>
            <a:r>
              <a:rPr lang="de-DE" b="1" u="sng" dirty="0" err="1">
                <a:latin typeface="+mj-lt"/>
                <a:ea typeface="+mj-ea"/>
                <a:cs typeface="+mj-cs"/>
              </a:rPr>
              <a:t>bcm</a:t>
            </a:r>
            <a:r>
              <a:rPr lang="de-DE" b="1" u="sng" dirty="0">
                <a:latin typeface="+mj-lt"/>
                <a:ea typeface="+mj-ea"/>
                <a:cs typeface="+mj-cs"/>
              </a:rPr>
              <a:t>): </a:t>
            </a:r>
          </a:p>
          <a:p>
            <a:pPr>
              <a:lnSpc>
                <a:spcPct val="100000"/>
              </a:lnSpc>
              <a:buFont typeface="Wingdings" panose="05000000000000000000" pitchFamily="2" charset="2"/>
              <a:buChar char="§"/>
            </a:pPr>
            <a:r>
              <a:rPr lang="de-DE" dirty="0"/>
              <a:t>Länge: ~ 26 km, H</a:t>
            </a:r>
            <a:r>
              <a:rPr lang="de-DE" baseline="-25000" dirty="0"/>
              <a:t>2</a:t>
            </a:r>
            <a:r>
              <a:rPr lang="de-DE" dirty="0"/>
              <a:t>-Ready</a:t>
            </a:r>
            <a:endParaRPr lang="de-DE" dirty="0">
              <a:cs typeface="Arial"/>
            </a:endParaRPr>
          </a:p>
          <a:p>
            <a:pPr>
              <a:lnSpc>
                <a:spcPct val="100000"/>
              </a:lnSpc>
              <a:buFont typeface="Wingdings" panose="05000000000000000000" pitchFamily="2" charset="2"/>
              <a:buChar char="§"/>
            </a:pPr>
            <a:r>
              <a:rPr lang="de-DE" dirty="0"/>
              <a:t>Nennweite DN 1000; Nenndruck DP 100</a:t>
            </a:r>
            <a:endParaRPr lang="de-DE" dirty="0">
              <a:cs typeface="Arial"/>
            </a:endParaRPr>
          </a:p>
          <a:p>
            <a:pPr>
              <a:lnSpc>
                <a:spcPct val="100000"/>
              </a:lnSpc>
              <a:buFont typeface="Wingdings" panose="05000000000000000000" pitchFamily="2" charset="2"/>
              <a:buChar char="§"/>
            </a:pPr>
            <a:r>
              <a:rPr lang="de-DE" dirty="0"/>
              <a:t>Start: GDRM Anlage Terminal 1 </a:t>
            </a:r>
            <a:r>
              <a:rPr lang="de-DE" dirty="0">
                <a:sym typeface="Wingdings" panose="05000000000000000000" pitchFamily="2" charset="2"/>
              </a:rPr>
              <a:t> </a:t>
            </a:r>
            <a:r>
              <a:rPr lang="de-DE" dirty="0"/>
              <a:t>Endpunkt: NETRA</a:t>
            </a:r>
          </a:p>
          <a:p>
            <a:pPr>
              <a:buFont typeface="Wingdings" panose="05000000000000000000" pitchFamily="2" charset="2"/>
              <a:buChar char="§"/>
            </a:pPr>
            <a:r>
              <a:rPr lang="de-DE" dirty="0"/>
              <a:t>Betroffen: 69 Eigentümer und 38 Pächter</a:t>
            </a:r>
          </a:p>
          <a:p>
            <a:pPr>
              <a:spcAft>
                <a:spcPts val="1800"/>
              </a:spcAft>
              <a:buFont typeface="Wingdings" panose="05000000000000000000" pitchFamily="2" charset="2"/>
              <a:buChar char="§"/>
            </a:pPr>
            <a:r>
              <a:rPr lang="de-DE" dirty="0"/>
              <a:t>Voraus. Inbetriebnahme: 20. Dezember 2022</a:t>
            </a:r>
          </a:p>
          <a:p>
            <a:pPr marL="0" indent="0">
              <a:lnSpc>
                <a:spcPct val="100000"/>
              </a:lnSpc>
              <a:buNone/>
            </a:pPr>
            <a:r>
              <a:rPr lang="de-DE" b="1" u="sng" dirty="0">
                <a:latin typeface="+mj-lt"/>
                <a:ea typeface="+mj-ea"/>
                <a:cs typeface="+mj-cs"/>
              </a:rPr>
              <a:t>LNG-Terminal Uniper (7,5 </a:t>
            </a:r>
            <a:r>
              <a:rPr lang="de-DE" b="1" u="sng" dirty="0" err="1">
                <a:latin typeface="+mj-lt"/>
                <a:ea typeface="+mj-ea"/>
                <a:cs typeface="+mj-cs"/>
              </a:rPr>
              <a:t>bcm</a:t>
            </a:r>
            <a:r>
              <a:rPr lang="de-DE" b="1" u="sng" dirty="0">
                <a:latin typeface="+mj-lt"/>
                <a:ea typeface="+mj-ea"/>
                <a:cs typeface="+mj-cs"/>
              </a:rPr>
              <a:t> = 8,5 % D-Gasbedarf): </a:t>
            </a:r>
          </a:p>
          <a:p>
            <a:pPr>
              <a:lnSpc>
                <a:spcPct val="100000"/>
              </a:lnSpc>
              <a:buFont typeface="Wingdings" panose="05000000000000000000" pitchFamily="2" charset="2"/>
              <a:buChar char="§"/>
            </a:pPr>
            <a:r>
              <a:rPr lang="de-DE" dirty="0"/>
              <a:t>Voraus. Inbetriebnahme: 21. Dezember 2022</a:t>
            </a:r>
          </a:p>
          <a:p>
            <a:pPr>
              <a:lnSpc>
                <a:spcPct val="100000"/>
              </a:lnSpc>
              <a:spcAft>
                <a:spcPts val="1800"/>
              </a:spcAft>
              <a:buFont typeface="Wingdings" panose="05000000000000000000" pitchFamily="2" charset="2"/>
              <a:buChar char="§"/>
            </a:pPr>
            <a:r>
              <a:rPr lang="de-DE" dirty="0"/>
              <a:t>Vorzeitiger Baubeginn am 1. Juli durch GAA Oldenburg erteilt</a:t>
            </a:r>
          </a:p>
          <a:p>
            <a:pPr marL="0" indent="0">
              <a:lnSpc>
                <a:spcPct val="100000"/>
              </a:lnSpc>
              <a:buNone/>
            </a:pPr>
            <a:r>
              <a:rPr lang="de-DE" b="1" u="sng" dirty="0"/>
              <a:t>LNG-Tanker </a:t>
            </a:r>
            <a:r>
              <a:rPr lang="de-DE" b="1" i="1" u="sng" dirty="0"/>
              <a:t>Esperanza</a:t>
            </a:r>
            <a:r>
              <a:rPr lang="de-DE" b="1" u="sng" dirty="0"/>
              <a:t> für den 27.12. erwartet</a:t>
            </a:r>
          </a:p>
          <a:p>
            <a:pPr>
              <a:lnSpc>
                <a:spcPct val="100000"/>
              </a:lnSpc>
              <a:buFont typeface="Wingdings" panose="05000000000000000000" pitchFamily="2" charset="2"/>
              <a:buChar char="§"/>
            </a:pPr>
            <a:endParaRPr lang="de-DE" dirty="0"/>
          </a:p>
          <a:p>
            <a:pPr>
              <a:buFont typeface="Wingdings" panose="05000000000000000000" pitchFamily="2" charset="2"/>
              <a:buChar char="§"/>
            </a:pPr>
            <a:endParaRPr lang="de-DE" dirty="0"/>
          </a:p>
          <a:p>
            <a:pPr marL="287655" indent="-287655"/>
            <a:endParaRPr lang="de-DE" dirty="0">
              <a:cs typeface="Arial" panose="020B0604020202020204"/>
            </a:endParaRPr>
          </a:p>
        </p:txBody>
      </p:sp>
      <p:sp>
        <p:nvSpPr>
          <p:cNvPr id="10" name="Titel 1">
            <a:extLst>
              <a:ext uri="{FF2B5EF4-FFF2-40B4-BE49-F238E27FC236}">
                <a16:creationId xmlns:a16="http://schemas.microsoft.com/office/drawing/2014/main" id="{BD9532B4-443D-4B97-9D7C-B0CBFC547186}"/>
              </a:ext>
            </a:extLst>
          </p:cNvPr>
          <p:cNvSpPr>
            <a:spLocks noGrp="1"/>
          </p:cNvSpPr>
          <p:nvPr>
            <p:ph type="title"/>
          </p:nvPr>
        </p:nvSpPr>
        <p:spPr>
          <a:xfrm>
            <a:off x="330732" y="159544"/>
            <a:ext cx="4478037" cy="396000"/>
          </a:xfrm>
        </p:spPr>
        <p:txBody>
          <a:bodyPr/>
          <a:lstStyle/>
          <a:p>
            <a:r>
              <a:rPr lang="de-DE" dirty="0"/>
              <a:t>LNG-Anbindung des Standortes Wilhelmshaven an die NETRA </a:t>
            </a:r>
          </a:p>
        </p:txBody>
      </p:sp>
      <p:pic>
        <p:nvPicPr>
          <p:cNvPr id="9" name="Grafik 8">
            <a:extLst>
              <a:ext uri="{FF2B5EF4-FFF2-40B4-BE49-F238E27FC236}">
                <a16:creationId xmlns:a16="http://schemas.microsoft.com/office/drawing/2014/main" id="{78EB9584-71F3-41C3-9473-66164D765E37}"/>
              </a:ext>
            </a:extLst>
          </p:cNvPr>
          <p:cNvPicPr>
            <a:picLocks noChangeAspect="1"/>
          </p:cNvPicPr>
          <p:nvPr/>
        </p:nvPicPr>
        <p:blipFill>
          <a:blip r:embed="rId3"/>
          <a:stretch>
            <a:fillRect/>
          </a:stretch>
        </p:blipFill>
        <p:spPr>
          <a:xfrm>
            <a:off x="4853267" y="0"/>
            <a:ext cx="4294723" cy="5143500"/>
          </a:xfrm>
          <a:prstGeom prst="rect">
            <a:avLst/>
          </a:prstGeom>
        </p:spPr>
      </p:pic>
      <p:sp>
        <p:nvSpPr>
          <p:cNvPr id="11" name="Fußzeilenplatzhalter 2">
            <a:extLst>
              <a:ext uri="{FF2B5EF4-FFF2-40B4-BE49-F238E27FC236}">
                <a16:creationId xmlns:a16="http://schemas.microsoft.com/office/drawing/2014/main" id="{3D335B22-DACD-4818-ABCC-962DE75AC76E}"/>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751954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3B8255-A019-4C26-A0E0-F42B1A10F8F0}"/>
              </a:ext>
            </a:extLst>
          </p:cNvPr>
          <p:cNvSpPr>
            <a:spLocks noGrp="1"/>
          </p:cNvSpPr>
          <p:nvPr>
            <p:ph type="title"/>
          </p:nvPr>
        </p:nvSpPr>
        <p:spPr/>
        <p:txBody>
          <a:bodyPr/>
          <a:lstStyle/>
          <a:p>
            <a:r>
              <a:rPr lang="de-DE" dirty="0"/>
              <a:t>Szenario- und Ist-Zeitplan der WAL-Planfeststellung</a:t>
            </a:r>
          </a:p>
        </p:txBody>
      </p:sp>
      <p:sp>
        <p:nvSpPr>
          <p:cNvPr id="3" name="Inhaltsplatzhalter 2">
            <a:extLst>
              <a:ext uri="{FF2B5EF4-FFF2-40B4-BE49-F238E27FC236}">
                <a16:creationId xmlns:a16="http://schemas.microsoft.com/office/drawing/2014/main" id="{9D1BCD4C-2332-4B8A-B741-5FEE20677D6C}"/>
              </a:ext>
            </a:extLst>
          </p:cNvPr>
          <p:cNvSpPr>
            <a:spLocks noGrp="1"/>
          </p:cNvSpPr>
          <p:nvPr>
            <p:ph sz="half" idx="1"/>
          </p:nvPr>
        </p:nvSpPr>
        <p:spPr>
          <a:xfrm>
            <a:off x="658800" y="856800"/>
            <a:ext cx="3762000" cy="3726000"/>
          </a:xfrm>
        </p:spPr>
        <p:txBody>
          <a:bodyPr/>
          <a:lstStyle/>
          <a:p>
            <a:pPr marL="0" indent="0">
              <a:spcBef>
                <a:spcPts val="300"/>
              </a:spcBef>
              <a:spcAft>
                <a:spcPts val="0"/>
              </a:spcAft>
              <a:buNone/>
            </a:pPr>
            <a:r>
              <a:rPr lang="de-DE" b="1" u="sng" dirty="0">
                <a:latin typeface="Arial" panose="020B0604020202020204" pitchFamily="34" charset="0"/>
              </a:rPr>
              <a:t>Szenario (Mitte März)</a:t>
            </a:r>
            <a:r>
              <a:rPr lang="de-DE" b="1" dirty="0">
                <a:latin typeface="Arial" panose="020B0604020202020204" pitchFamily="34" charset="0"/>
              </a:rPr>
              <a:t>: Planfeststellung im bestehenden Rechtsrahmen: </a:t>
            </a:r>
            <a:r>
              <a:rPr lang="de-DE" b="1" dirty="0">
                <a:latin typeface="Arial" panose="020B0604020202020204" pitchFamily="34" charset="0"/>
                <a:sym typeface="Wingdings" panose="05000000000000000000" pitchFamily="2" charset="2"/>
              </a:rPr>
              <a:t>29. April bis 22. August 2022</a:t>
            </a:r>
            <a:endParaRPr lang="de-DE" b="1" dirty="0">
              <a:latin typeface="Arial" panose="020B0604020202020204" pitchFamily="34" charset="0"/>
            </a:endParaRPr>
          </a:p>
          <a:p>
            <a:pPr marL="0" indent="0">
              <a:spcBef>
                <a:spcPts val="300"/>
              </a:spcBef>
              <a:spcAft>
                <a:spcPts val="0"/>
              </a:spcAft>
              <a:buNone/>
            </a:pPr>
            <a:endParaRPr lang="de-DE" dirty="0">
              <a:latin typeface="Arial" panose="020B0604020202020204" pitchFamily="34" charset="0"/>
            </a:endParaRPr>
          </a:p>
          <a:p>
            <a:pPr marL="0" indent="0">
              <a:spcBef>
                <a:spcPts val="300"/>
              </a:spcBef>
              <a:spcAft>
                <a:spcPts val="0"/>
              </a:spcAft>
              <a:buNone/>
            </a:pPr>
            <a:r>
              <a:rPr lang="de-DE" b="1" dirty="0">
                <a:latin typeface="Arial" panose="020B0604020202020204" pitchFamily="34" charset="0"/>
              </a:rPr>
              <a:t>I. 29 April: Antrag auf Planfeststellung</a:t>
            </a:r>
          </a:p>
          <a:p>
            <a:pPr>
              <a:spcBef>
                <a:spcPts val="300"/>
              </a:spcBef>
              <a:spcAft>
                <a:spcPts val="0"/>
              </a:spcAft>
              <a:buFont typeface="Wingdings" panose="05000000000000000000" pitchFamily="2" charset="2"/>
              <a:buChar char="§"/>
            </a:pPr>
            <a:r>
              <a:rPr lang="de-DE" dirty="0">
                <a:latin typeface="Arial" panose="020B0604020202020204" pitchFamily="34" charset="0"/>
              </a:rPr>
              <a:t>5. Mai: Aufforderung der Behörden zur </a:t>
            </a:r>
          </a:p>
          <a:p>
            <a:pPr marL="0" indent="0">
              <a:spcBef>
                <a:spcPts val="300"/>
              </a:spcBef>
              <a:spcAft>
                <a:spcPts val="0"/>
              </a:spcAft>
              <a:buNone/>
            </a:pPr>
            <a:r>
              <a:rPr lang="de-DE" dirty="0">
                <a:latin typeface="Arial" panose="020B0604020202020204" pitchFamily="34" charset="0"/>
              </a:rPr>
              <a:t>      Stellungnahme innerhalb eines Monats </a:t>
            </a:r>
          </a:p>
          <a:p>
            <a:pPr>
              <a:spcBef>
                <a:spcPts val="300"/>
              </a:spcBef>
              <a:spcAft>
                <a:spcPts val="0"/>
              </a:spcAft>
              <a:buFont typeface="Wingdings" panose="05000000000000000000" pitchFamily="2" charset="2"/>
              <a:buChar char="§"/>
            </a:pPr>
            <a:r>
              <a:rPr lang="de-DE" dirty="0">
                <a:latin typeface="Arial" panose="020B0604020202020204" pitchFamily="34" charset="0"/>
              </a:rPr>
              <a:t>11. Mai: Auslegung der Antragsunterlagen in den betroffenen Gemeinden </a:t>
            </a:r>
          </a:p>
          <a:p>
            <a:pPr>
              <a:spcBef>
                <a:spcPts val="300"/>
              </a:spcBef>
              <a:spcAft>
                <a:spcPts val="0"/>
              </a:spcAft>
              <a:buFont typeface="Wingdings" panose="05000000000000000000" pitchFamily="2" charset="2"/>
              <a:buChar char="§"/>
            </a:pPr>
            <a:r>
              <a:rPr lang="de-DE" dirty="0">
                <a:latin typeface="Arial" panose="020B0604020202020204" pitchFamily="34" charset="0"/>
              </a:rPr>
              <a:t>7. Juni: Ende Stellungnahmefrist Behörden</a:t>
            </a:r>
          </a:p>
          <a:p>
            <a:pPr>
              <a:spcBef>
                <a:spcPts val="300"/>
              </a:spcBef>
              <a:spcAft>
                <a:spcPts val="0"/>
              </a:spcAft>
              <a:buFont typeface="Wingdings" panose="05000000000000000000" pitchFamily="2" charset="2"/>
              <a:buChar char="§"/>
            </a:pPr>
            <a:r>
              <a:rPr lang="de-DE" dirty="0">
                <a:latin typeface="Arial" panose="020B0604020202020204" pitchFamily="34" charset="0"/>
              </a:rPr>
              <a:t>11. Juli: Ende Einwendungsfrist 2 Monate</a:t>
            </a:r>
          </a:p>
          <a:p>
            <a:pPr>
              <a:spcBef>
                <a:spcPts val="300"/>
              </a:spcBef>
              <a:spcAft>
                <a:spcPts val="0"/>
              </a:spcAft>
              <a:buFont typeface="Wingdings" panose="05000000000000000000" pitchFamily="2" charset="2"/>
              <a:buChar char="§"/>
            </a:pPr>
            <a:r>
              <a:rPr lang="de-DE" dirty="0">
                <a:latin typeface="Arial" panose="020B0604020202020204" pitchFamily="34" charset="0"/>
              </a:rPr>
              <a:t>25. Juli: Erörterungstermin</a:t>
            </a:r>
          </a:p>
          <a:p>
            <a:pPr marL="630898" lvl="1" indent="-342900">
              <a:spcBef>
                <a:spcPts val="300"/>
              </a:spcBef>
              <a:spcAft>
                <a:spcPts val="0"/>
              </a:spcAft>
              <a:buFont typeface="+mj-lt"/>
              <a:buAutoNum type="alphaLcPeriod"/>
            </a:pPr>
            <a:endParaRPr lang="de-DE" dirty="0">
              <a:latin typeface="Arial" panose="020B0604020202020204" pitchFamily="34" charset="0"/>
            </a:endParaRPr>
          </a:p>
          <a:p>
            <a:pPr marL="0" indent="0">
              <a:spcBef>
                <a:spcPts val="300"/>
              </a:spcBef>
              <a:spcAft>
                <a:spcPts val="0"/>
              </a:spcAft>
              <a:buNone/>
            </a:pPr>
            <a:r>
              <a:rPr lang="de-DE" b="1" dirty="0">
                <a:latin typeface="Arial" panose="020B0604020202020204" pitchFamily="34" charset="0"/>
              </a:rPr>
              <a:t>II. 22. August: Erlass Planfeststellungsbeschluss </a:t>
            </a:r>
          </a:p>
          <a:p>
            <a:endParaRPr lang="de-DE" dirty="0"/>
          </a:p>
        </p:txBody>
      </p:sp>
      <p:sp>
        <p:nvSpPr>
          <p:cNvPr id="4" name="Inhaltsplatzhalter 3">
            <a:extLst>
              <a:ext uri="{FF2B5EF4-FFF2-40B4-BE49-F238E27FC236}">
                <a16:creationId xmlns:a16="http://schemas.microsoft.com/office/drawing/2014/main" id="{2A235B8F-B5DC-4F2F-9016-1838364175A6}"/>
              </a:ext>
            </a:extLst>
          </p:cNvPr>
          <p:cNvSpPr>
            <a:spLocks noGrp="1"/>
          </p:cNvSpPr>
          <p:nvPr>
            <p:ph sz="half" idx="2"/>
          </p:nvPr>
        </p:nvSpPr>
        <p:spPr>
          <a:xfrm>
            <a:off x="4723200" y="856800"/>
            <a:ext cx="3911134" cy="3726000"/>
          </a:xfrm>
        </p:spPr>
        <p:txBody>
          <a:bodyPr/>
          <a:lstStyle/>
          <a:p>
            <a:pPr marL="0" indent="0">
              <a:spcBef>
                <a:spcPts val="300"/>
              </a:spcBef>
              <a:spcAft>
                <a:spcPts val="0"/>
              </a:spcAft>
              <a:buNone/>
            </a:pPr>
            <a:r>
              <a:rPr lang="de-DE" b="1" u="sng" dirty="0">
                <a:latin typeface="Arial" panose="020B0604020202020204" pitchFamily="34" charset="0"/>
              </a:rPr>
              <a:t>Ist-Zeitplan</a:t>
            </a:r>
            <a:r>
              <a:rPr lang="de-DE" dirty="0">
                <a:latin typeface="Arial" panose="020B0604020202020204" pitchFamily="34" charset="0"/>
              </a:rPr>
              <a:t>: 29. April – </a:t>
            </a:r>
            <a:r>
              <a:rPr lang="de-DE" b="1" dirty="0">
                <a:latin typeface="Arial" panose="020B0604020202020204" pitchFamily="34" charset="0"/>
              </a:rPr>
              <a:t>?</a:t>
            </a:r>
          </a:p>
          <a:p>
            <a:pPr marL="0" indent="0">
              <a:spcBef>
                <a:spcPts val="1000"/>
              </a:spcBef>
              <a:spcAft>
                <a:spcPts val="0"/>
              </a:spcAft>
              <a:buNone/>
            </a:pPr>
            <a:endParaRPr lang="de-DE" b="1" dirty="0">
              <a:latin typeface="Arial" panose="020B0604020202020204" pitchFamily="34" charset="0"/>
            </a:endParaRPr>
          </a:p>
          <a:p>
            <a:pPr marL="0" indent="0">
              <a:spcBef>
                <a:spcPts val="300"/>
              </a:spcBef>
              <a:spcAft>
                <a:spcPts val="0"/>
              </a:spcAft>
              <a:buNone/>
            </a:pPr>
            <a:r>
              <a:rPr lang="de-DE" b="1" dirty="0">
                <a:latin typeface="Arial" panose="020B0604020202020204" pitchFamily="34" charset="0"/>
              </a:rPr>
              <a:t>I. 29. April: Antrag auf Planfeststellung</a:t>
            </a:r>
          </a:p>
          <a:p>
            <a:pPr>
              <a:spcBef>
                <a:spcPts val="300"/>
              </a:spcBef>
              <a:spcAft>
                <a:spcPts val="0"/>
              </a:spcAft>
              <a:buFont typeface="Wingdings" panose="05000000000000000000" pitchFamily="2" charset="2"/>
              <a:buChar char="§"/>
            </a:pPr>
            <a:r>
              <a:rPr lang="de-DE" dirty="0">
                <a:latin typeface="Arial" panose="020B0604020202020204" pitchFamily="34" charset="0"/>
              </a:rPr>
              <a:t>3. Mai: Aufforderung der Behörden zur Stellungnahme bis 3. Juni</a:t>
            </a:r>
          </a:p>
          <a:p>
            <a:pPr>
              <a:spcBef>
                <a:spcPts val="300"/>
              </a:spcBef>
              <a:spcAft>
                <a:spcPts val="0"/>
              </a:spcAft>
              <a:buFont typeface="Wingdings" panose="05000000000000000000" pitchFamily="2" charset="2"/>
              <a:buChar char="§"/>
            </a:pPr>
            <a:r>
              <a:rPr lang="de-DE" dirty="0">
                <a:latin typeface="Arial" panose="020B0604020202020204" pitchFamily="34" charset="0"/>
              </a:rPr>
              <a:t>5. Mai: Auslegung der Antragsunterlagen in den betroffenen Gemeinden</a:t>
            </a:r>
          </a:p>
          <a:p>
            <a:pPr>
              <a:spcBef>
                <a:spcPts val="300"/>
              </a:spcBef>
              <a:spcAft>
                <a:spcPts val="0"/>
              </a:spcAft>
              <a:buFont typeface="Wingdings" panose="05000000000000000000" pitchFamily="2" charset="2"/>
              <a:buChar char="§"/>
            </a:pPr>
            <a:r>
              <a:rPr lang="de-DE" dirty="0">
                <a:latin typeface="Arial" panose="020B0604020202020204" pitchFamily="34" charset="0"/>
              </a:rPr>
              <a:t>14. Juni: Ende Einwendungsfrist</a:t>
            </a:r>
          </a:p>
          <a:p>
            <a:pPr>
              <a:spcBef>
                <a:spcPts val="300"/>
              </a:spcBef>
              <a:spcAft>
                <a:spcPts val="0"/>
              </a:spcAft>
              <a:buFont typeface="Wingdings" panose="05000000000000000000" pitchFamily="2" charset="2"/>
              <a:buChar char="§"/>
            </a:pPr>
            <a:r>
              <a:rPr lang="de-DE" dirty="0">
                <a:latin typeface="Arial" panose="020B0604020202020204" pitchFamily="34" charset="0"/>
              </a:rPr>
              <a:t>24. Juni: Zulassung des vorzeitigen Baubeginns</a:t>
            </a:r>
          </a:p>
          <a:p>
            <a:pPr>
              <a:spcBef>
                <a:spcPts val="300"/>
              </a:spcBef>
              <a:spcAft>
                <a:spcPts val="0"/>
              </a:spcAft>
              <a:buFont typeface="Wingdings" panose="05000000000000000000" pitchFamily="2" charset="2"/>
              <a:buChar char="§"/>
            </a:pPr>
            <a:r>
              <a:rPr lang="de-DE" dirty="0">
                <a:latin typeface="Arial" panose="020B0604020202020204" pitchFamily="34" charset="0"/>
              </a:rPr>
              <a:t>1. Juli: Widerspruch gegen die Zulassung des vorzeitigen Baubeginns durch die DUH</a:t>
            </a:r>
          </a:p>
          <a:p>
            <a:pPr>
              <a:spcBef>
                <a:spcPts val="300"/>
              </a:spcBef>
              <a:spcAft>
                <a:spcPts val="0"/>
              </a:spcAft>
              <a:buFont typeface="Wingdings" panose="05000000000000000000" pitchFamily="2" charset="2"/>
              <a:buChar char="§"/>
            </a:pPr>
            <a:r>
              <a:rPr lang="de-DE" dirty="0">
                <a:latin typeface="Arial" panose="020B0604020202020204" pitchFamily="34" charset="0"/>
              </a:rPr>
              <a:t>Keine Erörterung  (§ 8 Abs. 1 Nr. 1 c</a:t>
            </a:r>
            <a:r>
              <a:rPr lang="de-DE">
                <a:latin typeface="Arial" panose="020B0604020202020204" pitchFamily="34" charset="0"/>
              </a:rPr>
              <a:t>) LNGG)</a:t>
            </a:r>
            <a:endParaRPr lang="de-DE" dirty="0">
              <a:latin typeface="Arial" panose="020B0604020202020204" pitchFamily="34" charset="0"/>
            </a:endParaRPr>
          </a:p>
          <a:p>
            <a:pPr>
              <a:spcBef>
                <a:spcPts val="300"/>
              </a:spcBef>
              <a:spcAft>
                <a:spcPts val="0"/>
              </a:spcAft>
              <a:buFont typeface="Wingdings" panose="05000000000000000000" pitchFamily="2" charset="2"/>
              <a:buChar char="§"/>
            </a:pPr>
            <a:endParaRPr lang="de-DE" b="1" dirty="0"/>
          </a:p>
          <a:p>
            <a:pPr marL="0" indent="0">
              <a:buNone/>
            </a:pPr>
            <a:r>
              <a:rPr lang="de-DE" b="1" dirty="0"/>
              <a:t>II. Planfeststellungsbeschluss derzeit für Ende August avisiert</a:t>
            </a:r>
          </a:p>
        </p:txBody>
      </p:sp>
      <p:sp>
        <p:nvSpPr>
          <p:cNvPr id="5" name="Foliennummernplatzhalter 4">
            <a:extLst>
              <a:ext uri="{FF2B5EF4-FFF2-40B4-BE49-F238E27FC236}">
                <a16:creationId xmlns:a16="http://schemas.microsoft.com/office/drawing/2014/main" id="{DAA11461-FDB3-4019-B1AE-28DF2DA440D6}"/>
              </a:ext>
            </a:extLst>
          </p:cNvPr>
          <p:cNvSpPr>
            <a:spLocks noGrp="1"/>
          </p:cNvSpPr>
          <p:nvPr>
            <p:ph type="sldNum" sz="quarter" idx="12"/>
          </p:nvPr>
        </p:nvSpPr>
        <p:spPr/>
        <p:txBody>
          <a:bodyPr/>
          <a:lstStyle/>
          <a:p>
            <a:fld id="{2B28B3E2-BA40-4815-B230-D28A7A80ABF0}" type="slidenum">
              <a:rPr lang="de-DE" smtClean="0"/>
              <a:t>15</a:t>
            </a:fld>
            <a:endParaRPr lang="de-DE"/>
          </a:p>
        </p:txBody>
      </p:sp>
    </p:spTree>
    <p:extLst>
      <p:ext uri="{BB962C8B-B14F-4D97-AF65-F5344CB8AC3E}">
        <p14:creationId xmlns:p14="http://schemas.microsoft.com/office/powerpoint/2010/main" val="21259301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51AECD-C203-4E2D-BDD1-BA61B409494A}"/>
              </a:ext>
            </a:extLst>
          </p:cNvPr>
          <p:cNvSpPr>
            <a:spLocks noGrp="1"/>
          </p:cNvSpPr>
          <p:nvPr>
            <p:ph type="title"/>
          </p:nvPr>
        </p:nvSpPr>
        <p:spPr>
          <a:xfrm>
            <a:off x="658800" y="2692800"/>
            <a:ext cx="7207200" cy="900000"/>
          </a:xfrm>
        </p:spPr>
        <p:txBody>
          <a:bodyPr/>
          <a:lstStyle/>
          <a:p>
            <a:pPr>
              <a:lnSpc>
                <a:spcPct val="100000"/>
              </a:lnSpc>
            </a:pPr>
            <a:r>
              <a:rPr lang="de-DE" sz="4000" b="1" dirty="0"/>
              <a:t>Auswirkungen des LNG-Beschleunigungsgesetzes auf die WAL</a:t>
            </a:r>
            <a:endParaRPr lang="de-DE" sz="3600" dirty="0"/>
          </a:p>
        </p:txBody>
      </p:sp>
      <p:sp>
        <p:nvSpPr>
          <p:cNvPr id="3" name="Foliennummernplatzhalter 2">
            <a:extLst>
              <a:ext uri="{FF2B5EF4-FFF2-40B4-BE49-F238E27FC236}">
                <a16:creationId xmlns:a16="http://schemas.microsoft.com/office/drawing/2014/main" id="{3046BE8C-AA9E-4496-9072-11E8D6F961CA}"/>
              </a:ext>
            </a:extLst>
          </p:cNvPr>
          <p:cNvSpPr>
            <a:spLocks noGrp="1"/>
          </p:cNvSpPr>
          <p:nvPr>
            <p:ph type="sldNum" sz="quarter" idx="12"/>
          </p:nvPr>
        </p:nvSpPr>
        <p:spPr/>
        <p:txBody>
          <a:bodyPr/>
          <a:lstStyle/>
          <a:p>
            <a:fld id="{2B28B3E2-BA40-4815-B230-D28A7A80ABF0}" type="slidenum">
              <a:rPr lang="de-DE" smtClean="0"/>
              <a:t>16</a:t>
            </a:fld>
            <a:endParaRPr lang="de-DE"/>
          </a:p>
        </p:txBody>
      </p:sp>
      <p:sp>
        <p:nvSpPr>
          <p:cNvPr id="4" name="Fußzeilenplatzhalter 2">
            <a:extLst>
              <a:ext uri="{FF2B5EF4-FFF2-40B4-BE49-F238E27FC236}">
                <a16:creationId xmlns:a16="http://schemas.microsoft.com/office/drawing/2014/main" id="{A1BDFCE2-7CB4-4736-A48E-EEEEBF15BB10}"/>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179478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41480-AE71-41A9-A1D2-A6452D79B8DD}"/>
              </a:ext>
            </a:extLst>
          </p:cNvPr>
          <p:cNvSpPr>
            <a:spLocks noGrp="1"/>
          </p:cNvSpPr>
          <p:nvPr>
            <p:ph type="title"/>
          </p:nvPr>
        </p:nvSpPr>
        <p:spPr/>
        <p:txBody>
          <a:bodyPr/>
          <a:lstStyle/>
          <a:p>
            <a:r>
              <a:rPr lang="de-DE" dirty="0"/>
              <a:t>Auswirkungen des LNGG auf das WAL-Projekt (I)</a:t>
            </a:r>
          </a:p>
        </p:txBody>
      </p:sp>
      <p:sp>
        <p:nvSpPr>
          <p:cNvPr id="3" name="Inhaltsplatzhalter 2">
            <a:extLst>
              <a:ext uri="{FF2B5EF4-FFF2-40B4-BE49-F238E27FC236}">
                <a16:creationId xmlns:a16="http://schemas.microsoft.com/office/drawing/2014/main" id="{D2D56801-395D-4D68-B7EA-5D010E6B4123}"/>
              </a:ext>
            </a:extLst>
          </p:cNvPr>
          <p:cNvSpPr>
            <a:spLocks noGrp="1"/>
          </p:cNvSpPr>
          <p:nvPr>
            <p:ph idx="1"/>
          </p:nvPr>
        </p:nvSpPr>
        <p:spPr/>
        <p:txBody>
          <a:bodyPr/>
          <a:lstStyle/>
          <a:p>
            <a:pPr marL="0" indent="0">
              <a:buNone/>
            </a:pPr>
            <a:r>
              <a:rPr lang="de-DE" b="1" dirty="0"/>
              <a:t>§ 1 LNGG – Zweck </a:t>
            </a:r>
            <a:endParaRPr lang="de-DE" dirty="0"/>
          </a:p>
          <a:p>
            <a:pPr lvl="1">
              <a:buFont typeface="Wingdings" panose="05000000000000000000" pitchFamily="2" charset="2"/>
              <a:buChar char="§"/>
            </a:pPr>
            <a:r>
              <a:rPr lang="de-DE" dirty="0"/>
              <a:t>Sicherung der nationalen Energieversorgung durch die zügige Einbindung verflüssigten Erdgases in das bestehende Fernleitungsnetz.</a:t>
            </a:r>
          </a:p>
          <a:p>
            <a:pPr lvl="1">
              <a:buFont typeface="Wingdings" panose="05000000000000000000" pitchFamily="2" charset="2"/>
              <a:buChar char="§"/>
            </a:pPr>
            <a:r>
              <a:rPr lang="de-DE" dirty="0"/>
              <a:t>Beschleunigung von Zulassung von Errichtung und Inbetriebnahme der in § 2 bezeichneten Vorhaben</a:t>
            </a:r>
          </a:p>
          <a:p>
            <a:pPr marL="0" indent="0">
              <a:buNone/>
            </a:pPr>
            <a:endParaRPr lang="de-DE" b="1" dirty="0"/>
          </a:p>
          <a:p>
            <a:pPr marL="0" indent="0">
              <a:buNone/>
            </a:pPr>
            <a:r>
              <a:rPr lang="de-DE" b="1" dirty="0"/>
              <a:t>§ 3 LNGG – Besonderes Interesse</a:t>
            </a:r>
          </a:p>
          <a:p>
            <a:pPr lvl="1">
              <a:buFont typeface="Wingdings" panose="05000000000000000000" pitchFamily="2" charset="2"/>
              <a:buChar char="§"/>
            </a:pPr>
            <a:r>
              <a:rPr lang="de-DE" dirty="0"/>
              <a:t>Vorhaben für sichere Gasversorgung Deutschlands besonders dringlich</a:t>
            </a:r>
          </a:p>
          <a:p>
            <a:pPr lvl="1">
              <a:buFont typeface="Wingdings" panose="05000000000000000000" pitchFamily="2" charset="2"/>
              <a:buChar char="§"/>
            </a:pPr>
            <a:r>
              <a:rPr lang="de-DE" dirty="0"/>
              <a:t>Feststellung der energiewirtschaftlichen Notwendigkeit und des Bedarfs zur Gewährleistung der Versorgung der Allgemeinheit mit Gas</a:t>
            </a:r>
          </a:p>
          <a:p>
            <a:pPr lvl="1">
              <a:buFont typeface="Wingdings" panose="05000000000000000000" pitchFamily="2" charset="2"/>
              <a:buChar char="§"/>
            </a:pPr>
            <a:r>
              <a:rPr lang="de-DE" dirty="0"/>
              <a:t>Schnellstmögliche Durchführung ist aus Gründen eines überragenden öffentlichen Interesses und im Interesse der öffentlichen Sicherheit erforderlich</a:t>
            </a:r>
          </a:p>
          <a:p>
            <a:pPr marL="287998" lvl="1" indent="0">
              <a:buNone/>
            </a:pPr>
            <a:endParaRPr lang="de-DE" dirty="0"/>
          </a:p>
        </p:txBody>
      </p:sp>
      <p:sp>
        <p:nvSpPr>
          <p:cNvPr id="4" name="Foliennummernplatzhalter 3">
            <a:extLst>
              <a:ext uri="{FF2B5EF4-FFF2-40B4-BE49-F238E27FC236}">
                <a16:creationId xmlns:a16="http://schemas.microsoft.com/office/drawing/2014/main" id="{FA32F98E-1792-4370-A85C-EADAB81E297B}"/>
              </a:ext>
            </a:extLst>
          </p:cNvPr>
          <p:cNvSpPr>
            <a:spLocks noGrp="1"/>
          </p:cNvSpPr>
          <p:nvPr>
            <p:ph type="sldNum" sz="quarter" idx="12"/>
          </p:nvPr>
        </p:nvSpPr>
        <p:spPr/>
        <p:txBody>
          <a:bodyPr/>
          <a:lstStyle/>
          <a:p>
            <a:fld id="{2B28B3E2-BA40-4815-B230-D28A7A80ABF0}" type="slidenum">
              <a:rPr lang="de-DE" smtClean="0"/>
              <a:t>17</a:t>
            </a:fld>
            <a:endParaRPr lang="de-DE"/>
          </a:p>
        </p:txBody>
      </p:sp>
    </p:spTree>
    <p:extLst>
      <p:ext uri="{BB962C8B-B14F-4D97-AF65-F5344CB8AC3E}">
        <p14:creationId xmlns:p14="http://schemas.microsoft.com/office/powerpoint/2010/main" val="1059036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41480-AE71-41A9-A1D2-A6452D79B8DD}"/>
              </a:ext>
            </a:extLst>
          </p:cNvPr>
          <p:cNvSpPr>
            <a:spLocks noGrp="1"/>
          </p:cNvSpPr>
          <p:nvPr>
            <p:ph type="title"/>
          </p:nvPr>
        </p:nvSpPr>
        <p:spPr/>
        <p:txBody>
          <a:bodyPr/>
          <a:lstStyle/>
          <a:p>
            <a:r>
              <a:rPr lang="de-DE" dirty="0"/>
              <a:t>Auswirkungen des LNGG auf das WAL-Projekt (II)</a:t>
            </a:r>
          </a:p>
        </p:txBody>
      </p:sp>
      <p:sp>
        <p:nvSpPr>
          <p:cNvPr id="3" name="Inhaltsplatzhalter 2">
            <a:extLst>
              <a:ext uri="{FF2B5EF4-FFF2-40B4-BE49-F238E27FC236}">
                <a16:creationId xmlns:a16="http://schemas.microsoft.com/office/drawing/2014/main" id="{D2D56801-395D-4D68-B7EA-5D010E6B4123}"/>
              </a:ext>
            </a:extLst>
          </p:cNvPr>
          <p:cNvSpPr>
            <a:spLocks noGrp="1"/>
          </p:cNvSpPr>
          <p:nvPr>
            <p:ph idx="1"/>
          </p:nvPr>
        </p:nvSpPr>
        <p:spPr/>
        <p:txBody>
          <a:bodyPr/>
          <a:lstStyle/>
          <a:p>
            <a:pPr marL="0" indent="0">
              <a:buNone/>
            </a:pPr>
            <a:r>
              <a:rPr lang="de-DE" b="1" dirty="0"/>
              <a:t>§ 4 LNGG – Ausnahmen von der Umweltverträglichkeitsprüfung</a:t>
            </a:r>
          </a:p>
          <a:p>
            <a:pPr lvl="1">
              <a:buFont typeface="Wingdings" panose="05000000000000000000" pitchFamily="2" charset="2"/>
              <a:buChar char="§"/>
            </a:pPr>
            <a:r>
              <a:rPr lang="de-DE" dirty="0"/>
              <a:t>§ 4 Abs. 1: Keine UVP, wenn eine beschleunigte Zulassung des konkreten Vorhabens geeignet ist, einen relevanten Beitrag zu leisten, um eine Krise der Gasversorgung zu bewältigen oder abzuwenden.</a:t>
            </a:r>
          </a:p>
          <a:p>
            <a:pPr lvl="2">
              <a:buFont typeface="Wingdings" panose="05000000000000000000" pitchFamily="2" charset="2"/>
              <a:buChar char="Ø"/>
            </a:pPr>
            <a:r>
              <a:rPr lang="de-DE" dirty="0"/>
              <a:t>Von einem mengenmäßig relevanten Beitrag kann regelmäßig ausgegangen werden, wenn das Vorhaben eine jährliche </a:t>
            </a:r>
            <a:r>
              <a:rPr lang="de-DE" dirty="0" err="1"/>
              <a:t>Regasifizierungskapazität</a:t>
            </a:r>
            <a:r>
              <a:rPr lang="de-DE" dirty="0"/>
              <a:t> von zumindest 5 Mrd. m³ erreicht bzw. überschreitet.</a:t>
            </a:r>
          </a:p>
          <a:p>
            <a:pPr lvl="1">
              <a:buFont typeface="Wingdings" panose="05000000000000000000" pitchFamily="2" charset="2"/>
              <a:buChar char="§"/>
            </a:pPr>
            <a:r>
              <a:rPr lang="de-DE" dirty="0"/>
              <a:t>§ 4 Abs. 2: Entfall der Pflichten des Vorhabenträgers und Aufgaben der Behörden</a:t>
            </a:r>
          </a:p>
          <a:p>
            <a:pPr marL="0" indent="0" algn="l">
              <a:buNone/>
            </a:pPr>
            <a:endParaRPr lang="de-DE" b="1" dirty="0"/>
          </a:p>
          <a:p>
            <a:pPr marL="0" indent="0" algn="l">
              <a:buNone/>
            </a:pPr>
            <a:r>
              <a:rPr lang="de-DE" b="1" dirty="0"/>
              <a:t>§ 6 LNGG – Maßgaben für das Bundesnaturschutzgesetz</a:t>
            </a:r>
          </a:p>
          <a:p>
            <a:pPr lvl="1">
              <a:buFont typeface="Wingdings" panose="05000000000000000000" pitchFamily="2" charset="2"/>
              <a:buChar char="§"/>
            </a:pPr>
            <a:r>
              <a:rPr lang="de-DE" dirty="0"/>
              <a:t>Festsetzung von Ausgleichs- und Ersatzmaßnahmen nach § 15 Abs. 2 BNatSchG können bis zu zwei Jahre nach Erteilung der Zulassungsentscheidung erfolgen; erforderliche Angaben nach § 17 Abs. 4 S. 1 Nr. 2 BNatSchG sind nachträglich zu machen</a:t>
            </a:r>
          </a:p>
          <a:p>
            <a:pPr lvl="1">
              <a:buFont typeface="Wingdings" panose="05000000000000000000" pitchFamily="2" charset="2"/>
              <a:buChar char="§"/>
            </a:pPr>
            <a:r>
              <a:rPr lang="de-DE" dirty="0"/>
              <a:t>Umsetzung der Maßnahmen innerhalb von 3 Jahren nach Festsetzung</a:t>
            </a:r>
          </a:p>
        </p:txBody>
      </p:sp>
      <p:sp>
        <p:nvSpPr>
          <p:cNvPr id="4" name="Foliennummernplatzhalter 3">
            <a:extLst>
              <a:ext uri="{FF2B5EF4-FFF2-40B4-BE49-F238E27FC236}">
                <a16:creationId xmlns:a16="http://schemas.microsoft.com/office/drawing/2014/main" id="{FA32F98E-1792-4370-A85C-EADAB81E297B}"/>
              </a:ext>
            </a:extLst>
          </p:cNvPr>
          <p:cNvSpPr>
            <a:spLocks noGrp="1"/>
          </p:cNvSpPr>
          <p:nvPr>
            <p:ph type="sldNum" sz="quarter" idx="12"/>
          </p:nvPr>
        </p:nvSpPr>
        <p:spPr/>
        <p:txBody>
          <a:bodyPr/>
          <a:lstStyle/>
          <a:p>
            <a:fld id="{2B28B3E2-BA40-4815-B230-D28A7A80ABF0}" type="slidenum">
              <a:rPr lang="de-DE" smtClean="0"/>
              <a:t>18</a:t>
            </a:fld>
            <a:endParaRPr lang="de-DE"/>
          </a:p>
        </p:txBody>
      </p:sp>
    </p:spTree>
    <p:extLst>
      <p:ext uri="{BB962C8B-B14F-4D97-AF65-F5344CB8AC3E}">
        <p14:creationId xmlns:p14="http://schemas.microsoft.com/office/powerpoint/2010/main" val="3072623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41480-AE71-41A9-A1D2-A6452D79B8DD}"/>
              </a:ext>
            </a:extLst>
          </p:cNvPr>
          <p:cNvSpPr>
            <a:spLocks noGrp="1"/>
          </p:cNvSpPr>
          <p:nvPr>
            <p:ph type="title"/>
          </p:nvPr>
        </p:nvSpPr>
        <p:spPr/>
        <p:txBody>
          <a:bodyPr/>
          <a:lstStyle/>
          <a:p>
            <a:r>
              <a:rPr lang="de-DE" dirty="0"/>
              <a:t>Auswirkungen des LNGG auf das WAL-Projekt (III)</a:t>
            </a:r>
          </a:p>
        </p:txBody>
      </p:sp>
      <p:sp>
        <p:nvSpPr>
          <p:cNvPr id="3" name="Inhaltsplatzhalter 2">
            <a:extLst>
              <a:ext uri="{FF2B5EF4-FFF2-40B4-BE49-F238E27FC236}">
                <a16:creationId xmlns:a16="http://schemas.microsoft.com/office/drawing/2014/main" id="{D2D56801-395D-4D68-B7EA-5D010E6B4123}"/>
              </a:ext>
            </a:extLst>
          </p:cNvPr>
          <p:cNvSpPr>
            <a:spLocks noGrp="1"/>
          </p:cNvSpPr>
          <p:nvPr>
            <p:ph idx="1"/>
          </p:nvPr>
        </p:nvSpPr>
        <p:spPr/>
        <p:txBody>
          <a:bodyPr/>
          <a:lstStyle/>
          <a:p>
            <a:pPr marL="0" indent="0">
              <a:buNone/>
            </a:pPr>
            <a:r>
              <a:rPr lang="de-DE" b="1" dirty="0"/>
              <a:t>§ 8 LNGG – Maßgaben für das Energiewirtschaftsgesetz</a:t>
            </a:r>
          </a:p>
          <a:p>
            <a:pPr lvl="1">
              <a:buFont typeface="Wingdings" panose="05000000000000000000" pitchFamily="2" charset="2"/>
              <a:buChar char="§"/>
            </a:pPr>
            <a:r>
              <a:rPr lang="de-DE" dirty="0"/>
              <a:t>Planauslegung für die Dauer von einer Woche</a:t>
            </a:r>
          </a:p>
          <a:p>
            <a:pPr lvl="1">
              <a:buFont typeface="Wingdings" panose="05000000000000000000" pitchFamily="2" charset="2"/>
              <a:buChar char="§"/>
            </a:pPr>
            <a:r>
              <a:rPr lang="de-DE" dirty="0"/>
              <a:t>Erhebung von Einwendungen nur bis eine Woche nach Ablauf der Auslegungsfrist</a:t>
            </a:r>
          </a:p>
          <a:p>
            <a:pPr lvl="1">
              <a:buFont typeface="Wingdings" panose="05000000000000000000" pitchFamily="2" charset="2"/>
              <a:buChar char="§"/>
            </a:pPr>
            <a:r>
              <a:rPr lang="de-DE" dirty="0"/>
              <a:t>Erörterungstermin nur, wenn dieser von der Behörde für erforderlich gehalten wird</a:t>
            </a:r>
          </a:p>
          <a:p>
            <a:pPr lvl="1">
              <a:buFont typeface="Wingdings" panose="05000000000000000000" pitchFamily="2" charset="2"/>
              <a:buChar char="§"/>
            </a:pPr>
            <a:r>
              <a:rPr lang="de-DE" dirty="0"/>
              <a:t>Kampfmittelräumungen, archäologische Untersuchungen und Bergungen gelten als Vorarbeiten </a:t>
            </a:r>
            <a:r>
              <a:rPr lang="de-DE" dirty="0" err="1"/>
              <a:t>i.S.d</a:t>
            </a:r>
            <a:r>
              <a:rPr lang="de-DE" dirty="0"/>
              <a:t>. § 44 EnWG</a:t>
            </a:r>
          </a:p>
          <a:p>
            <a:pPr lvl="1">
              <a:buFont typeface="Wingdings" panose="05000000000000000000" pitchFamily="2" charset="2"/>
              <a:buChar char="§"/>
            </a:pPr>
            <a:r>
              <a:rPr lang="de-DE" dirty="0"/>
              <a:t>Vor-vorzeitige Besitzeinweisung nach § 44b EnWG bereits nach Ablauf der Einwendungsfrist</a:t>
            </a:r>
          </a:p>
          <a:p>
            <a:pPr lvl="1">
              <a:buFont typeface="Wingdings" panose="05000000000000000000" pitchFamily="2" charset="2"/>
              <a:buChar char="§"/>
            </a:pPr>
            <a:r>
              <a:rPr lang="de-DE" dirty="0"/>
              <a:t>Die Zulassung des vorzeitigen Baubeginns nach § 44c EnWG ist auch für nicht-reversible Maßnahmen und ohne Vorliegen notwendiger privater Rechte möglich</a:t>
            </a:r>
          </a:p>
        </p:txBody>
      </p:sp>
      <p:sp>
        <p:nvSpPr>
          <p:cNvPr id="4" name="Foliennummernplatzhalter 3">
            <a:extLst>
              <a:ext uri="{FF2B5EF4-FFF2-40B4-BE49-F238E27FC236}">
                <a16:creationId xmlns:a16="http://schemas.microsoft.com/office/drawing/2014/main" id="{FA32F98E-1792-4370-A85C-EADAB81E297B}"/>
              </a:ext>
            </a:extLst>
          </p:cNvPr>
          <p:cNvSpPr>
            <a:spLocks noGrp="1"/>
          </p:cNvSpPr>
          <p:nvPr>
            <p:ph type="sldNum" sz="quarter" idx="12"/>
          </p:nvPr>
        </p:nvSpPr>
        <p:spPr/>
        <p:txBody>
          <a:bodyPr/>
          <a:lstStyle/>
          <a:p>
            <a:fld id="{2B28B3E2-BA40-4815-B230-D28A7A80ABF0}" type="slidenum">
              <a:rPr lang="de-DE" smtClean="0"/>
              <a:t>19</a:t>
            </a:fld>
            <a:endParaRPr lang="de-DE"/>
          </a:p>
        </p:txBody>
      </p:sp>
    </p:spTree>
    <p:extLst>
      <p:ext uri="{BB962C8B-B14F-4D97-AF65-F5344CB8AC3E}">
        <p14:creationId xmlns:p14="http://schemas.microsoft.com/office/powerpoint/2010/main" val="3848783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16AEA3E-9B51-4823-B2B5-178FCE2D4535}"/>
              </a:ext>
            </a:extLst>
          </p:cNvPr>
          <p:cNvSpPr>
            <a:spLocks noGrp="1"/>
          </p:cNvSpPr>
          <p:nvPr>
            <p:ph type="title"/>
          </p:nvPr>
        </p:nvSpPr>
        <p:spPr>
          <a:xfrm>
            <a:off x="658800" y="273844"/>
            <a:ext cx="7207200" cy="396000"/>
          </a:xfrm>
        </p:spPr>
        <p:txBody>
          <a:bodyPr anchor="t">
            <a:normAutofit/>
          </a:bodyPr>
          <a:lstStyle/>
          <a:p>
            <a:r>
              <a:rPr lang="de-DE" u="sng" dirty="0"/>
              <a:t>Agenda</a:t>
            </a:r>
          </a:p>
        </p:txBody>
      </p:sp>
      <p:sp>
        <p:nvSpPr>
          <p:cNvPr id="7" name="Inhaltsplatzhalter 6">
            <a:extLst>
              <a:ext uri="{FF2B5EF4-FFF2-40B4-BE49-F238E27FC236}">
                <a16:creationId xmlns:a16="http://schemas.microsoft.com/office/drawing/2014/main" id="{E23BD4EE-8413-44B6-BE37-40DBAEDB9F01}"/>
              </a:ext>
            </a:extLst>
          </p:cNvPr>
          <p:cNvSpPr>
            <a:spLocks noGrp="1"/>
          </p:cNvSpPr>
          <p:nvPr>
            <p:ph sz="half" idx="1"/>
          </p:nvPr>
        </p:nvSpPr>
        <p:spPr>
          <a:xfrm>
            <a:off x="658799" y="856800"/>
            <a:ext cx="7360939" cy="3726000"/>
          </a:xfrm>
        </p:spPr>
        <p:txBody>
          <a:bodyPr>
            <a:normAutofit/>
          </a:bodyPr>
          <a:lstStyle/>
          <a:p>
            <a:pPr marL="400050" indent="-400050">
              <a:spcBef>
                <a:spcPts val="300"/>
              </a:spcBef>
              <a:spcAft>
                <a:spcPts val="0"/>
              </a:spcAft>
              <a:buAutoNum type="romanUcPeriod"/>
            </a:pPr>
            <a:r>
              <a:rPr lang="de-DE" sz="1800" b="1" dirty="0"/>
              <a:t>Auswirkungen des Angriffskriegs auf den deutschen Gasmarkt</a:t>
            </a:r>
          </a:p>
          <a:p>
            <a:pPr marL="400050" indent="-400050">
              <a:spcBef>
                <a:spcPts val="300"/>
              </a:spcBef>
              <a:spcAft>
                <a:spcPts val="0"/>
              </a:spcAft>
              <a:buAutoNum type="romanUcPeriod"/>
            </a:pPr>
            <a:endParaRPr lang="de-DE" sz="1800" b="1" dirty="0"/>
          </a:p>
          <a:p>
            <a:pPr marL="400050" indent="-400050">
              <a:spcBef>
                <a:spcPts val="300"/>
              </a:spcBef>
              <a:spcAft>
                <a:spcPts val="0"/>
              </a:spcAft>
              <a:buAutoNum type="romanUcPeriod"/>
            </a:pPr>
            <a:r>
              <a:rPr lang="de-DE" sz="1800" b="1" dirty="0"/>
              <a:t>Infrastrukturmaßnahmen zur Importdiversifikation</a:t>
            </a:r>
          </a:p>
          <a:p>
            <a:pPr marL="400050" indent="-400050">
              <a:spcBef>
                <a:spcPts val="300"/>
              </a:spcBef>
              <a:spcAft>
                <a:spcPts val="0"/>
              </a:spcAft>
              <a:buAutoNum type="romanUcPeriod"/>
            </a:pPr>
            <a:endParaRPr lang="de-DE" sz="1800" b="1" dirty="0"/>
          </a:p>
          <a:p>
            <a:pPr marL="400050" indent="-400050">
              <a:spcBef>
                <a:spcPts val="300"/>
              </a:spcBef>
              <a:spcAft>
                <a:spcPts val="0"/>
              </a:spcAft>
              <a:buAutoNum type="romanUcPeriod"/>
            </a:pPr>
            <a:r>
              <a:rPr lang="de-DE" sz="1800" b="1" dirty="0"/>
              <a:t>Wilhelmshavener-Anschluss-Leitung (WAL)</a:t>
            </a:r>
          </a:p>
          <a:p>
            <a:pPr marL="400050" indent="-400050">
              <a:spcBef>
                <a:spcPts val="300"/>
              </a:spcBef>
              <a:spcAft>
                <a:spcPts val="0"/>
              </a:spcAft>
              <a:buAutoNum type="romanUcPeriod"/>
            </a:pPr>
            <a:endParaRPr lang="de-DE" sz="1800" b="1" dirty="0"/>
          </a:p>
          <a:p>
            <a:pPr marL="400050" indent="-400050">
              <a:spcBef>
                <a:spcPts val="300"/>
              </a:spcBef>
              <a:spcAft>
                <a:spcPts val="0"/>
              </a:spcAft>
              <a:buAutoNum type="romanUcPeriod"/>
            </a:pPr>
            <a:r>
              <a:rPr lang="de-DE" sz="1800" b="1" dirty="0"/>
              <a:t>Auswirkungen des LNG-Beschleunigungsgesetzes auf die WAL</a:t>
            </a:r>
          </a:p>
        </p:txBody>
      </p:sp>
      <p:sp>
        <p:nvSpPr>
          <p:cNvPr id="4" name="Foliennummernplatzhalter 3">
            <a:extLst>
              <a:ext uri="{FF2B5EF4-FFF2-40B4-BE49-F238E27FC236}">
                <a16:creationId xmlns:a16="http://schemas.microsoft.com/office/drawing/2014/main" id="{13F9ED9C-51A4-4653-AF5B-6B791D06C1AB}"/>
              </a:ext>
            </a:extLst>
          </p:cNvPr>
          <p:cNvSpPr>
            <a:spLocks noGrp="1"/>
          </p:cNvSpPr>
          <p:nvPr>
            <p:ph type="sldNum" sz="quarter" idx="12"/>
          </p:nvPr>
        </p:nvSpPr>
        <p:spPr>
          <a:xfrm>
            <a:off x="8143200" y="4800600"/>
            <a:ext cx="342000" cy="108000"/>
          </a:xfrm>
        </p:spPr>
        <p:txBody>
          <a:bodyPr anchor="b">
            <a:normAutofit/>
          </a:bodyPr>
          <a:lstStyle/>
          <a:p>
            <a:pPr>
              <a:spcAft>
                <a:spcPts val="600"/>
              </a:spcAft>
            </a:pPr>
            <a:fld id="{2B28B3E2-BA40-4815-B230-D28A7A80ABF0}" type="slidenum">
              <a:rPr lang="de-DE" smtClean="0"/>
              <a:pPr>
                <a:spcAft>
                  <a:spcPts val="600"/>
                </a:spcAft>
              </a:pPr>
              <a:t>2</a:t>
            </a:fld>
            <a:endParaRPr lang="de-DE"/>
          </a:p>
        </p:txBody>
      </p:sp>
      <p:sp>
        <p:nvSpPr>
          <p:cNvPr id="5" name="Fußzeilenplatzhalter 2">
            <a:extLst>
              <a:ext uri="{FF2B5EF4-FFF2-40B4-BE49-F238E27FC236}">
                <a16:creationId xmlns:a16="http://schemas.microsoft.com/office/drawing/2014/main" id="{2A010E12-26EF-4A85-B2BE-3B97FDF470DD}"/>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4104426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41480-AE71-41A9-A1D2-A6452D79B8DD}"/>
              </a:ext>
            </a:extLst>
          </p:cNvPr>
          <p:cNvSpPr>
            <a:spLocks noGrp="1"/>
          </p:cNvSpPr>
          <p:nvPr>
            <p:ph type="title"/>
          </p:nvPr>
        </p:nvSpPr>
        <p:spPr/>
        <p:txBody>
          <a:bodyPr/>
          <a:lstStyle/>
          <a:p>
            <a:r>
              <a:rPr lang="de-DE" dirty="0"/>
              <a:t>Auswirkungen des LNGG auf das WAL-Projekt (IV)</a:t>
            </a:r>
          </a:p>
        </p:txBody>
      </p:sp>
      <p:sp>
        <p:nvSpPr>
          <p:cNvPr id="3" name="Inhaltsplatzhalter 2">
            <a:extLst>
              <a:ext uri="{FF2B5EF4-FFF2-40B4-BE49-F238E27FC236}">
                <a16:creationId xmlns:a16="http://schemas.microsoft.com/office/drawing/2014/main" id="{D2D56801-395D-4D68-B7EA-5D010E6B4123}"/>
              </a:ext>
            </a:extLst>
          </p:cNvPr>
          <p:cNvSpPr>
            <a:spLocks noGrp="1"/>
          </p:cNvSpPr>
          <p:nvPr>
            <p:ph idx="1"/>
          </p:nvPr>
        </p:nvSpPr>
        <p:spPr/>
        <p:txBody>
          <a:bodyPr/>
          <a:lstStyle/>
          <a:p>
            <a:pPr marL="0" indent="0">
              <a:buNone/>
            </a:pPr>
            <a:r>
              <a:rPr lang="de-DE" b="1" dirty="0"/>
              <a:t>§ 10 LNGG – Weitere Verfahrensanordnungen</a:t>
            </a:r>
          </a:p>
          <a:p>
            <a:pPr lvl="1">
              <a:buFont typeface="Wingdings" panose="05000000000000000000" pitchFamily="2" charset="2"/>
              <a:buChar char="§"/>
            </a:pPr>
            <a:r>
              <a:rPr lang="de-DE" dirty="0"/>
              <a:t>Anwendbarkeitserklärung des Plansicherstellungsgesetzes </a:t>
            </a:r>
            <a:r>
              <a:rPr lang="de-DE" dirty="0" err="1"/>
              <a:t>bezügl</a:t>
            </a:r>
            <a:r>
              <a:rPr lang="de-DE" dirty="0"/>
              <a:t>. öffentlicher Bekanntmachung / Planauslegung / Erörterungstermin</a:t>
            </a:r>
          </a:p>
          <a:p>
            <a:pPr marL="0" indent="0">
              <a:buNone/>
            </a:pPr>
            <a:endParaRPr lang="de-DE" dirty="0"/>
          </a:p>
          <a:p>
            <a:pPr marL="0" indent="0">
              <a:buNone/>
            </a:pPr>
            <a:r>
              <a:rPr lang="de-DE" b="1" dirty="0"/>
              <a:t>§ 11 LNGG – Rechtsbehelfe</a:t>
            </a:r>
          </a:p>
          <a:p>
            <a:pPr lvl="1">
              <a:buFont typeface="Wingdings" panose="05000000000000000000" pitchFamily="2" charset="2"/>
              <a:buChar char="§"/>
            </a:pPr>
            <a:r>
              <a:rPr lang="de-DE" dirty="0"/>
              <a:t>Widerspruch und Anfechtungsklage gegen eine Zulassungsentscheidung haben keine aufschiebende Wirkung.</a:t>
            </a:r>
          </a:p>
          <a:p>
            <a:pPr lvl="1">
              <a:buFont typeface="Wingdings" panose="05000000000000000000" pitchFamily="2" charset="2"/>
              <a:buChar char="§"/>
            </a:pPr>
            <a:r>
              <a:rPr lang="de-DE" dirty="0"/>
              <a:t>Der Antrag auf Anordnung der aufschiebenden Wirkung kann nur innerhalb eines Monats nach der Zustellung der Entscheidung gestellt und begründet werden.</a:t>
            </a:r>
          </a:p>
          <a:p>
            <a:pPr lvl="1">
              <a:buFont typeface="Wingdings" panose="05000000000000000000" pitchFamily="2" charset="2"/>
              <a:buChar char="§"/>
            </a:pPr>
            <a:endParaRPr lang="de-DE" dirty="0"/>
          </a:p>
          <a:p>
            <a:pPr marL="0" indent="0">
              <a:buNone/>
            </a:pPr>
            <a:r>
              <a:rPr lang="de-DE" b="1" dirty="0"/>
              <a:t>§ 12 LNGG – Zuständigkeit des Bundesverwaltungsgerichts</a:t>
            </a:r>
          </a:p>
          <a:p>
            <a:pPr lvl="1">
              <a:buFont typeface="Wingdings" panose="05000000000000000000" pitchFamily="2" charset="2"/>
              <a:buChar char="§"/>
            </a:pPr>
            <a:r>
              <a:rPr lang="de-DE" dirty="0"/>
              <a:t>Entscheidungskonzentration für sämtliche Streitigkeiten, ausdrücklich auch vorzeitiger Baubeginn und Anzeigeverfahren</a:t>
            </a:r>
          </a:p>
        </p:txBody>
      </p:sp>
      <p:sp>
        <p:nvSpPr>
          <p:cNvPr id="4" name="Foliennummernplatzhalter 3">
            <a:extLst>
              <a:ext uri="{FF2B5EF4-FFF2-40B4-BE49-F238E27FC236}">
                <a16:creationId xmlns:a16="http://schemas.microsoft.com/office/drawing/2014/main" id="{FA32F98E-1792-4370-A85C-EADAB81E297B}"/>
              </a:ext>
            </a:extLst>
          </p:cNvPr>
          <p:cNvSpPr>
            <a:spLocks noGrp="1"/>
          </p:cNvSpPr>
          <p:nvPr>
            <p:ph type="sldNum" sz="quarter" idx="12"/>
          </p:nvPr>
        </p:nvSpPr>
        <p:spPr/>
        <p:txBody>
          <a:bodyPr/>
          <a:lstStyle/>
          <a:p>
            <a:fld id="{2B28B3E2-BA40-4815-B230-D28A7A80ABF0}" type="slidenum">
              <a:rPr lang="de-DE" smtClean="0"/>
              <a:t>20</a:t>
            </a:fld>
            <a:endParaRPr lang="de-DE"/>
          </a:p>
        </p:txBody>
      </p:sp>
    </p:spTree>
    <p:extLst>
      <p:ext uri="{BB962C8B-B14F-4D97-AF65-F5344CB8AC3E}">
        <p14:creationId xmlns:p14="http://schemas.microsoft.com/office/powerpoint/2010/main" val="16880753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41480-AE71-41A9-A1D2-A6452D79B8DD}"/>
              </a:ext>
            </a:extLst>
          </p:cNvPr>
          <p:cNvSpPr>
            <a:spLocks noGrp="1"/>
          </p:cNvSpPr>
          <p:nvPr>
            <p:ph type="title"/>
          </p:nvPr>
        </p:nvSpPr>
        <p:spPr/>
        <p:txBody>
          <a:bodyPr/>
          <a:lstStyle/>
          <a:p>
            <a:r>
              <a:rPr lang="de-DE" dirty="0"/>
              <a:t>Auswirkungen des LNGG auf das WAL-Projekt (V)</a:t>
            </a:r>
          </a:p>
        </p:txBody>
      </p:sp>
      <p:sp>
        <p:nvSpPr>
          <p:cNvPr id="3" name="Inhaltsplatzhalter 2">
            <a:extLst>
              <a:ext uri="{FF2B5EF4-FFF2-40B4-BE49-F238E27FC236}">
                <a16:creationId xmlns:a16="http://schemas.microsoft.com/office/drawing/2014/main" id="{D2D56801-395D-4D68-B7EA-5D010E6B4123}"/>
              </a:ext>
            </a:extLst>
          </p:cNvPr>
          <p:cNvSpPr>
            <a:spLocks noGrp="1"/>
          </p:cNvSpPr>
          <p:nvPr>
            <p:ph idx="1"/>
          </p:nvPr>
        </p:nvSpPr>
        <p:spPr/>
        <p:txBody>
          <a:bodyPr/>
          <a:lstStyle/>
          <a:p>
            <a:pPr marL="0" indent="0">
              <a:buNone/>
            </a:pPr>
            <a:r>
              <a:rPr lang="de-DE" b="1" dirty="0"/>
              <a:t>§ 13 LNGG – Übergangsregelungen</a:t>
            </a:r>
          </a:p>
          <a:p>
            <a:pPr lvl="1">
              <a:buFont typeface="Wingdings" panose="05000000000000000000" pitchFamily="2" charset="2"/>
              <a:buChar char="§"/>
            </a:pPr>
            <a:r>
              <a:rPr lang="de-DE" dirty="0"/>
              <a:t>LNGG auf bereits vor Inkrafttreten des Gesetzes begonnene, aber noch nicht abgeschlossene Verfahren anzuwenden.</a:t>
            </a:r>
          </a:p>
          <a:p>
            <a:pPr lvl="1">
              <a:buFont typeface="Wingdings" panose="05000000000000000000" pitchFamily="2" charset="2"/>
              <a:buChar char="§"/>
            </a:pPr>
            <a:r>
              <a:rPr lang="de-DE" dirty="0"/>
              <a:t>Bereits begonnener, aber noch nicht abgeschlossener, Verfahrensschritt, ist neu zu beginnen, wenn er nach dem LNGG durchgeführt wird. </a:t>
            </a:r>
          </a:p>
          <a:p>
            <a:pPr lvl="1">
              <a:buFont typeface="Wingdings" panose="05000000000000000000" pitchFamily="2" charset="2"/>
              <a:buChar char="§"/>
            </a:pPr>
            <a:r>
              <a:rPr lang="de-DE" dirty="0"/>
              <a:t>Ein Verfahrensschritt, der bereits begonnen, aber noch nicht abgeschlossen wurde, soll beendet werden, wenn der Verfahrensschritt nach dem LNGG schneller abgeschlossen werden kann.</a:t>
            </a:r>
          </a:p>
        </p:txBody>
      </p:sp>
      <p:sp>
        <p:nvSpPr>
          <p:cNvPr id="4" name="Foliennummernplatzhalter 3">
            <a:extLst>
              <a:ext uri="{FF2B5EF4-FFF2-40B4-BE49-F238E27FC236}">
                <a16:creationId xmlns:a16="http://schemas.microsoft.com/office/drawing/2014/main" id="{FA32F98E-1792-4370-A85C-EADAB81E297B}"/>
              </a:ext>
            </a:extLst>
          </p:cNvPr>
          <p:cNvSpPr>
            <a:spLocks noGrp="1"/>
          </p:cNvSpPr>
          <p:nvPr>
            <p:ph type="sldNum" sz="quarter" idx="12"/>
          </p:nvPr>
        </p:nvSpPr>
        <p:spPr/>
        <p:txBody>
          <a:bodyPr/>
          <a:lstStyle/>
          <a:p>
            <a:fld id="{2B28B3E2-BA40-4815-B230-D28A7A80ABF0}" type="slidenum">
              <a:rPr lang="de-DE" smtClean="0"/>
              <a:t>21</a:t>
            </a:fld>
            <a:endParaRPr lang="de-DE"/>
          </a:p>
        </p:txBody>
      </p:sp>
    </p:spTree>
    <p:extLst>
      <p:ext uri="{BB962C8B-B14F-4D97-AF65-F5344CB8AC3E}">
        <p14:creationId xmlns:p14="http://schemas.microsoft.com/office/powerpoint/2010/main" val="1715972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746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E8114F-37F3-49FA-BFAF-452B54490F3E}"/>
              </a:ext>
            </a:extLst>
          </p:cNvPr>
          <p:cNvSpPr>
            <a:spLocks noGrp="1"/>
          </p:cNvSpPr>
          <p:nvPr>
            <p:ph type="title"/>
          </p:nvPr>
        </p:nvSpPr>
        <p:spPr/>
        <p:txBody>
          <a:bodyPr/>
          <a:lstStyle/>
          <a:p>
            <a:pPr>
              <a:lnSpc>
                <a:spcPct val="100000"/>
              </a:lnSpc>
            </a:pPr>
            <a:r>
              <a:rPr lang="de-DE" sz="4000" b="1" dirty="0"/>
              <a:t>Auswirkungen des Angriffskriegs auf den deutschen Gasmarkt</a:t>
            </a:r>
            <a:endParaRPr lang="de-DE" sz="4000" dirty="0"/>
          </a:p>
        </p:txBody>
      </p:sp>
      <p:sp>
        <p:nvSpPr>
          <p:cNvPr id="3" name="Foliennummernplatzhalter 2">
            <a:extLst>
              <a:ext uri="{FF2B5EF4-FFF2-40B4-BE49-F238E27FC236}">
                <a16:creationId xmlns:a16="http://schemas.microsoft.com/office/drawing/2014/main" id="{B75D2C7A-ED2C-4242-BF91-AB8ECD69F0ED}"/>
              </a:ext>
            </a:extLst>
          </p:cNvPr>
          <p:cNvSpPr>
            <a:spLocks noGrp="1"/>
          </p:cNvSpPr>
          <p:nvPr>
            <p:ph type="sldNum" sz="quarter" idx="12"/>
          </p:nvPr>
        </p:nvSpPr>
        <p:spPr/>
        <p:txBody>
          <a:bodyPr/>
          <a:lstStyle/>
          <a:p>
            <a:fld id="{2B28B3E2-BA40-4815-B230-D28A7A80ABF0}" type="slidenum">
              <a:rPr lang="de-DE" smtClean="0"/>
              <a:t>3</a:t>
            </a:fld>
            <a:endParaRPr lang="de-DE"/>
          </a:p>
        </p:txBody>
      </p:sp>
      <p:sp>
        <p:nvSpPr>
          <p:cNvPr id="4" name="Fußzeilenplatzhalter 2">
            <a:extLst>
              <a:ext uri="{FF2B5EF4-FFF2-40B4-BE49-F238E27FC236}">
                <a16:creationId xmlns:a16="http://schemas.microsoft.com/office/drawing/2014/main" id="{1B6BE963-D85C-40D2-8AE0-4FD6EBC79864}"/>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464110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304BB3-C99D-4DFD-861F-C9E953F42277}"/>
              </a:ext>
            </a:extLst>
          </p:cNvPr>
          <p:cNvSpPr>
            <a:spLocks noGrp="1"/>
          </p:cNvSpPr>
          <p:nvPr>
            <p:ph type="title"/>
          </p:nvPr>
        </p:nvSpPr>
        <p:spPr>
          <a:xfrm>
            <a:off x="658800" y="273844"/>
            <a:ext cx="7207200" cy="396000"/>
          </a:xfrm>
        </p:spPr>
        <p:txBody>
          <a:bodyPr anchor="t">
            <a:normAutofit fontScale="90000"/>
          </a:bodyPr>
          <a:lstStyle/>
          <a:p>
            <a:pPr>
              <a:lnSpc>
                <a:spcPct val="100000"/>
              </a:lnSpc>
            </a:pPr>
            <a:r>
              <a:rPr lang="de-DE" dirty="0"/>
              <a:t>Übersicht Erdgasnetz Norddeutschland</a:t>
            </a:r>
            <a:br>
              <a:rPr lang="de-DE" dirty="0"/>
            </a:br>
            <a:endParaRPr lang="de-DE" dirty="0">
              <a:solidFill>
                <a:srgbClr val="FF0000"/>
              </a:solidFill>
            </a:endParaRPr>
          </a:p>
        </p:txBody>
      </p:sp>
      <p:sp>
        <p:nvSpPr>
          <p:cNvPr id="4" name="Foliennummernplatzhalter 3">
            <a:extLst>
              <a:ext uri="{FF2B5EF4-FFF2-40B4-BE49-F238E27FC236}">
                <a16:creationId xmlns:a16="http://schemas.microsoft.com/office/drawing/2014/main" id="{D8218395-4276-477B-8961-32C6C2DE8177}"/>
              </a:ext>
            </a:extLst>
          </p:cNvPr>
          <p:cNvSpPr>
            <a:spLocks noGrp="1"/>
          </p:cNvSpPr>
          <p:nvPr>
            <p:ph type="sldNum" sz="quarter" idx="12"/>
          </p:nvPr>
        </p:nvSpPr>
        <p:spPr>
          <a:xfrm>
            <a:off x="8143200" y="4800600"/>
            <a:ext cx="342000" cy="108000"/>
          </a:xfrm>
        </p:spPr>
        <p:txBody>
          <a:bodyPr anchor="b">
            <a:normAutofit/>
          </a:bodyPr>
          <a:lstStyle/>
          <a:p>
            <a:pPr>
              <a:spcAft>
                <a:spcPts val="600"/>
              </a:spcAft>
            </a:pPr>
            <a:fld id="{2B28B3E2-BA40-4815-B230-D28A7A80ABF0}" type="slidenum">
              <a:rPr lang="de-DE" smtClean="0"/>
              <a:pPr>
                <a:spcAft>
                  <a:spcPts val="600"/>
                </a:spcAft>
              </a:pPr>
              <a:t>4</a:t>
            </a:fld>
            <a:endParaRPr lang="de-DE"/>
          </a:p>
        </p:txBody>
      </p:sp>
      <p:pic>
        <p:nvPicPr>
          <p:cNvPr id="15" name="Grafik 14">
            <a:extLst>
              <a:ext uri="{FF2B5EF4-FFF2-40B4-BE49-F238E27FC236}">
                <a16:creationId xmlns:a16="http://schemas.microsoft.com/office/drawing/2014/main" id="{8054DBF4-A024-46DD-BAE5-95D0750DEE1E}"/>
              </a:ext>
            </a:extLst>
          </p:cNvPr>
          <p:cNvPicPr>
            <a:picLocks noChangeAspect="1"/>
          </p:cNvPicPr>
          <p:nvPr/>
        </p:nvPicPr>
        <p:blipFill>
          <a:blip r:embed="rId3"/>
          <a:stretch>
            <a:fillRect/>
          </a:stretch>
        </p:blipFill>
        <p:spPr>
          <a:xfrm>
            <a:off x="761684" y="814858"/>
            <a:ext cx="7266280" cy="3679032"/>
          </a:xfrm>
          <a:prstGeom prst="rect">
            <a:avLst/>
          </a:prstGeom>
        </p:spPr>
      </p:pic>
      <p:sp>
        <p:nvSpPr>
          <p:cNvPr id="5" name="Fußzeilenplatzhalter 2">
            <a:extLst>
              <a:ext uri="{FF2B5EF4-FFF2-40B4-BE49-F238E27FC236}">
                <a16:creationId xmlns:a16="http://schemas.microsoft.com/office/drawing/2014/main" id="{3EEE9EE6-E5A2-4FFD-BB1F-D55C56B785C8}"/>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249070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04CC47-796C-4D72-A72F-795C959781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4" name="Objekt 13" hidden="1">
                        <a:extLst>
                          <a:ext uri="{FF2B5EF4-FFF2-40B4-BE49-F238E27FC236}">
                            <a16:creationId xmlns:a16="http://schemas.microsoft.com/office/drawing/2014/main" id="{4604CC47-796C-4D72-A72F-795C959781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FC1671-07CA-44E5-AA4C-BCFE94723E34}"/>
              </a:ext>
            </a:extLst>
          </p:cNvPr>
          <p:cNvSpPr>
            <a:spLocks noGrp="1"/>
          </p:cNvSpPr>
          <p:nvPr>
            <p:ph type="title"/>
          </p:nvPr>
        </p:nvSpPr>
        <p:spPr>
          <a:xfrm>
            <a:off x="658799" y="327560"/>
            <a:ext cx="7930029" cy="396000"/>
          </a:xfrm>
        </p:spPr>
        <p:txBody>
          <a:bodyPr vert="horz"/>
          <a:lstStyle/>
          <a:p>
            <a:r>
              <a:rPr lang="de-DE" dirty="0"/>
              <a:t>Derzeitige Importsituation</a:t>
            </a:r>
          </a:p>
        </p:txBody>
      </p:sp>
      <p:sp>
        <p:nvSpPr>
          <p:cNvPr id="4" name="Foliennummernplatzhalter 3">
            <a:extLst>
              <a:ext uri="{FF2B5EF4-FFF2-40B4-BE49-F238E27FC236}">
                <a16:creationId xmlns:a16="http://schemas.microsoft.com/office/drawing/2014/main" id="{8E3DA8E1-8255-4B32-B441-8B805837F8DA}"/>
              </a:ext>
            </a:extLst>
          </p:cNvPr>
          <p:cNvSpPr>
            <a:spLocks noGrp="1"/>
          </p:cNvSpPr>
          <p:nvPr>
            <p:ph type="sldNum" sz="quarter" idx="12"/>
          </p:nvPr>
        </p:nvSpPr>
        <p:spPr/>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2B28B3E2-BA40-4815-B230-D28A7A80ABF0}" type="slidenum">
              <a:rPr kumimoji="0" lang="de-DE" sz="600" b="0" i="0" u="none" strike="noStrike" kern="1200" cap="none" spc="0" normalizeH="0" baseline="0" noProof="0" smtClean="0">
                <a:ln>
                  <a:noFill/>
                </a:ln>
                <a:solidFill>
                  <a:srgbClr val="013C74"/>
                </a:solidFill>
                <a:effectLst/>
                <a:uLnTx/>
                <a:uFillTx/>
                <a:latin typeface="Arial" panose="020B0604020202020204"/>
                <a:ea typeface="+mn-ea"/>
                <a:cs typeface="+mn-cs"/>
              </a:rPr>
              <a:pPr marL="0" marR="0" lvl="0" indent="0" algn="r" defTabSz="457200" eaLnBrk="1" fontAlgn="auto" latinLnBrk="0" hangingPunct="1">
                <a:lnSpc>
                  <a:spcPct val="100000"/>
                </a:lnSpc>
                <a:spcBef>
                  <a:spcPts val="0"/>
                </a:spcBef>
                <a:spcAft>
                  <a:spcPts val="0"/>
                </a:spcAft>
                <a:buClrTx/>
                <a:buSzTx/>
                <a:buFontTx/>
                <a:buNone/>
                <a:tabLst/>
                <a:defRPr/>
              </a:pPr>
              <a:t>5</a:t>
            </a:fld>
            <a:endParaRPr kumimoji="0" lang="de-DE" sz="600" b="0" i="0" u="none" strike="noStrike" kern="1200" cap="none" spc="0" normalizeH="0" baseline="0" noProof="0">
              <a:ln>
                <a:noFill/>
              </a:ln>
              <a:solidFill>
                <a:srgbClr val="013C74"/>
              </a:solidFill>
              <a:effectLst/>
              <a:uLnTx/>
              <a:uFillTx/>
              <a:latin typeface="Arial" panose="020B0604020202020204"/>
              <a:ea typeface="+mn-ea"/>
              <a:cs typeface="+mn-cs"/>
            </a:endParaRPr>
          </a:p>
        </p:txBody>
      </p:sp>
      <p:grpSp>
        <p:nvGrpSpPr>
          <p:cNvPr id="61" name="Group 3">
            <a:extLst>
              <a:ext uri="{FF2B5EF4-FFF2-40B4-BE49-F238E27FC236}">
                <a16:creationId xmlns:a16="http://schemas.microsoft.com/office/drawing/2014/main" id="{A14BA173-2AEA-FECB-7CC9-A2F0966DF802}"/>
              </a:ext>
            </a:extLst>
          </p:cNvPr>
          <p:cNvGrpSpPr>
            <a:grpSpLocks noChangeAspect="1"/>
          </p:cNvGrpSpPr>
          <p:nvPr/>
        </p:nvGrpSpPr>
        <p:grpSpPr bwMode="auto">
          <a:xfrm>
            <a:off x="3063906" y="1361021"/>
            <a:ext cx="2344179" cy="3168000"/>
            <a:chOff x="1872" y="1248"/>
            <a:chExt cx="1989" cy="2688"/>
          </a:xfrm>
          <a:solidFill>
            <a:srgbClr val="C9E8FB"/>
          </a:solidFill>
        </p:grpSpPr>
        <p:sp>
          <p:nvSpPr>
            <p:cNvPr id="62" name="Freeform 4">
              <a:extLst>
                <a:ext uri="{FF2B5EF4-FFF2-40B4-BE49-F238E27FC236}">
                  <a16:creationId xmlns:a16="http://schemas.microsoft.com/office/drawing/2014/main" id="{73A23BD9-F059-1C98-425A-BD64D954C6F7}"/>
                </a:ext>
              </a:extLst>
            </p:cNvPr>
            <p:cNvSpPr>
              <a:spLocks/>
            </p:cNvSpPr>
            <p:nvPr/>
          </p:nvSpPr>
          <p:spPr bwMode="gray">
            <a:xfrm>
              <a:off x="2040" y="1649"/>
              <a:ext cx="1024" cy="902"/>
            </a:xfrm>
            <a:custGeom>
              <a:avLst/>
              <a:gdLst/>
              <a:ahLst/>
              <a:cxnLst>
                <a:cxn ang="0">
                  <a:pos x="901" y="453"/>
                </a:cxn>
                <a:cxn ang="0">
                  <a:pos x="920" y="511"/>
                </a:cxn>
                <a:cxn ang="0">
                  <a:pos x="830" y="637"/>
                </a:cxn>
                <a:cxn ang="0">
                  <a:pos x="837" y="701"/>
                </a:cxn>
                <a:cxn ang="0">
                  <a:pos x="864" y="762"/>
                </a:cxn>
                <a:cxn ang="0">
                  <a:pos x="797" y="791"/>
                </a:cxn>
                <a:cxn ang="0">
                  <a:pos x="675" y="854"/>
                </a:cxn>
                <a:cxn ang="0">
                  <a:pos x="616" y="889"/>
                </a:cxn>
                <a:cxn ang="0">
                  <a:pos x="635" y="784"/>
                </a:cxn>
                <a:cxn ang="0">
                  <a:pos x="588" y="706"/>
                </a:cxn>
                <a:cxn ang="0">
                  <a:pos x="485" y="560"/>
                </a:cxn>
                <a:cxn ang="0">
                  <a:pos x="497" y="488"/>
                </a:cxn>
                <a:cxn ang="0">
                  <a:pos x="425" y="512"/>
                </a:cxn>
                <a:cxn ang="0">
                  <a:pos x="415" y="472"/>
                </a:cxn>
                <a:cxn ang="0">
                  <a:pos x="385" y="598"/>
                </a:cxn>
                <a:cxn ang="0">
                  <a:pos x="337" y="610"/>
                </a:cxn>
                <a:cxn ang="0">
                  <a:pos x="244" y="627"/>
                </a:cxn>
                <a:cxn ang="0">
                  <a:pos x="279" y="599"/>
                </a:cxn>
                <a:cxn ang="0">
                  <a:pos x="270" y="538"/>
                </a:cxn>
                <a:cxn ang="0">
                  <a:pos x="191" y="498"/>
                </a:cxn>
                <a:cxn ang="0">
                  <a:pos x="132" y="571"/>
                </a:cxn>
                <a:cxn ang="0">
                  <a:pos x="69" y="556"/>
                </a:cxn>
                <a:cxn ang="0">
                  <a:pos x="66" y="500"/>
                </a:cxn>
                <a:cxn ang="0">
                  <a:pos x="0" y="491"/>
                </a:cxn>
                <a:cxn ang="0">
                  <a:pos x="75" y="435"/>
                </a:cxn>
                <a:cxn ang="0">
                  <a:pos x="110" y="206"/>
                </a:cxn>
                <a:cxn ang="0">
                  <a:pos x="119" y="202"/>
                </a:cxn>
                <a:cxn ang="0">
                  <a:pos x="63" y="145"/>
                </a:cxn>
                <a:cxn ang="0">
                  <a:pos x="90" y="138"/>
                </a:cxn>
                <a:cxn ang="0">
                  <a:pos x="91" y="124"/>
                </a:cxn>
                <a:cxn ang="0">
                  <a:pos x="92" y="95"/>
                </a:cxn>
                <a:cxn ang="0">
                  <a:pos x="261" y="66"/>
                </a:cxn>
                <a:cxn ang="0">
                  <a:pos x="274" y="86"/>
                </a:cxn>
                <a:cxn ang="0">
                  <a:pos x="280" y="137"/>
                </a:cxn>
                <a:cxn ang="0">
                  <a:pos x="304" y="173"/>
                </a:cxn>
                <a:cxn ang="0">
                  <a:pos x="331" y="139"/>
                </a:cxn>
                <a:cxn ang="0">
                  <a:pos x="319" y="100"/>
                </a:cxn>
                <a:cxn ang="0">
                  <a:pos x="376" y="126"/>
                </a:cxn>
                <a:cxn ang="0">
                  <a:pos x="387" y="152"/>
                </a:cxn>
                <a:cxn ang="0">
                  <a:pos x="407" y="141"/>
                </a:cxn>
                <a:cxn ang="0">
                  <a:pos x="377" y="113"/>
                </a:cxn>
                <a:cxn ang="0">
                  <a:pos x="395" y="4"/>
                </a:cxn>
                <a:cxn ang="0">
                  <a:pos x="423" y="17"/>
                </a:cxn>
                <a:cxn ang="0">
                  <a:pos x="534" y="23"/>
                </a:cxn>
                <a:cxn ang="0">
                  <a:pos x="659" y="152"/>
                </a:cxn>
                <a:cxn ang="0">
                  <a:pos x="696" y="147"/>
                </a:cxn>
                <a:cxn ang="0">
                  <a:pos x="723" y="161"/>
                </a:cxn>
                <a:cxn ang="0">
                  <a:pos x="745" y="151"/>
                </a:cxn>
                <a:cxn ang="0">
                  <a:pos x="767" y="159"/>
                </a:cxn>
                <a:cxn ang="0">
                  <a:pos x="801" y="177"/>
                </a:cxn>
                <a:cxn ang="0">
                  <a:pos x="817" y="172"/>
                </a:cxn>
                <a:cxn ang="0">
                  <a:pos x="889" y="173"/>
                </a:cxn>
                <a:cxn ang="0">
                  <a:pos x="922" y="241"/>
                </a:cxn>
                <a:cxn ang="0">
                  <a:pos x="1024" y="277"/>
                </a:cxn>
                <a:cxn ang="0">
                  <a:pos x="902" y="320"/>
                </a:cxn>
                <a:cxn ang="0">
                  <a:pos x="854" y="366"/>
                </a:cxn>
              </a:cxnLst>
              <a:rect l="0" t="0" r="r" b="b"/>
              <a:pathLst>
                <a:path w="1024" h="902">
                  <a:moveTo>
                    <a:pt x="854" y="366"/>
                  </a:moveTo>
                  <a:lnTo>
                    <a:pt x="901" y="453"/>
                  </a:lnTo>
                  <a:lnTo>
                    <a:pt x="899" y="484"/>
                  </a:lnTo>
                  <a:lnTo>
                    <a:pt x="920" y="511"/>
                  </a:lnTo>
                  <a:lnTo>
                    <a:pt x="924" y="596"/>
                  </a:lnTo>
                  <a:lnTo>
                    <a:pt x="830" y="637"/>
                  </a:lnTo>
                  <a:lnTo>
                    <a:pt x="848" y="685"/>
                  </a:lnTo>
                  <a:lnTo>
                    <a:pt x="837" y="701"/>
                  </a:lnTo>
                  <a:lnTo>
                    <a:pt x="840" y="725"/>
                  </a:lnTo>
                  <a:lnTo>
                    <a:pt x="864" y="762"/>
                  </a:lnTo>
                  <a:lnTo>
                    <a:pt x="837" y="796"/>
                  </a:lnTo>
                  <a:lnTo>
                    <a:pt x="797" y="791"/>
                  </a:lnTo>
                  <a:lnTo>
                    <a:pt x="702" y="871"/>
                  </a:lnTo>
                  <a:lnTo>
                    <a:pt x="675" y="854"/>
                  </a:lnTo>
                  <a:lnTo>
                    <a:pt x="647" y="902"/>
                  </a:lnTo>
                  <a:lnTo>
                    <a:pt x="616" y="889"/>
                  </a:lnTo>
                  <a:lnTo>
                    <a:pt x="643" y="810"/>
                  </a:lnTo>
                  <a:lnTo>
                    <a:pt x="635" y="784"/>
                  </a:lnTo>
                  <a:lnTo>
                    <a:pt x="585" y="785"/>
                  </a:lnTo>
                  <a:lnTo>
                    <a:pt x="588" y="706"/>
                  </a:lnTo>
                  <a:lnTo>
                    <a:pt x="567" y="705"/>
                  </a:lnTo>
                  <a:lnTo>
                    <a:pt x="485" y="560"/>
                  </a:lnTo>
                  <a:lnTo>
                    <a:pt x="517" y="513"/>
                  </a:lnTo>
                  <a:lnTo>
                    <a:pt x="497" y="488"/>
                  </a:lnTo>
                  <a:lnTo>
                    <a:pt x="483" y="513"/>
                  </a:lnTo>
                  <a:lnTo>
                    <a:pt x="425" y="512"/>
                  </a:lnTo>
                  <a:lnTo>
                    <a:pt x="425" y="481"/>
                  </a:lnTo>
                  <a:lnTo>
                    <a:pt x="415" y="472"/>
                  </a:lnTo>
                  <a:lnTo>
                    <a:pt x="337" y="502"/>
                  </a:lnTo>
                  <a:lnTo>
                    <a:pt x="385" y="598"/>
                  </a:lnTo>
                  <a:lnTo>
                    <a:pt x="365" y="617"/>
                  </a:lnTo>
                  <a:lnTo>
                    <a:pt x="337" y="610"/>
                  </a:lnTo>
                  <a:lnTo>
                    <a:pt x="280" y="650"/>
                  </a:lnTo>
                  <a:lnTo>
                    <a:pt x="244" y="627"/>
                  </a:lnTo>
                  <a:lnTo>
                    <a:pt x="275" y="614"/>
                  </a:lnTo>
                  <a:lnTo>
                    <a:pt x="279" y="599"/>
                  </a:lnTo>
                  <a:lnTo>
                    <a:pt x="256" y="592"/>
                  </a:lnTo>
                  <a:lnTo>
                    <a:pt x="270" y="538"/>
                  </a:lnTo>
                  <a:lnTo>
                    <a:pt x="214" y="500"/>
                  </a:lnTo>
                  <a:lnTo>
                    <a:pt x="191" y="498"/>
                  </a:lnTo>
                  <a:lnTo>
                    <a:pt x="184" y="534"/>
                  </a:lnTo>
                  <a:lnTo>
                    <a:pt x="132" y="571"/>
                  </a:lnTo>
                  <a:lnTo>
                    <a:pt x="83" y="576"/>
                  </a:lnTo>
                  <a:lnTo>
                    <a:pt x="69" y="556"/>
                  </a:lnTo>
                  <a:lnTo>
                    <a:pt x="88" y="533"/>
                  </a:lnTo>
                  <a:lnTo>
                    <a:pt x="66" y="500"/>
                  </a:lnTo>
                  <a:lnTo>
                    <a:pt x="55" y="509"/>
                  </a:lnTo>
                  <a:lnTo>
                    <a:pt x="0" y="491"/>
                  </a:lnTo>
                  <a:lnTo>
                    <a:pt x="14" y="438"/>
                  </a:lnTo>
                  <a:lnTo>
                    <a:pt x="75" y="435"/>
                  </a:lnTo>
                  <a:lnTo>
                    <a:pt x="83" y="367"/>
                  </a:lnTo>
                  <a:lnTo>
                    <a:pt x="110" y="206"/>
                  </a:lnTo>
                  <a:lnTo>
                    <a:pt x="136" y="213"/>
                  </a:lnTo>
                  <a:lnTo>
                    <a:pt x="119" y="202"/>
                  </a:lnTo>
                  <a:lnTo>
                    <a:pt x="64" y="195"/>
                  </a:lnTo>
                  <a:lnTo>
                    <a:pt x="63" y="145"/>
                  </a:lnTo>
                  <a:lnTo>
                    <a:pt x="72" y="133"/>
                  </a:lnTo>
                  <a:lnTo>
                    <a:pt x="90" y="138"/>
                  </a:lnTo>
                  <a:lnTo>
                    <a:pt x="94" y="130"/>
                  </a:lnTo>
                  <a:lnTo>
                    <a:pt x="91" y="124"/>
                  </a:lnTo>
                  <a:lnTo>
                    <a:pt x="77" y="115"/>
                  </a:lnTo>
                  <a:lnTo>
                    <a:pt x="92" y="95"/>
                  </a:lnTo>
                  <a:lnTo>
                    <a:pt x="118" y="80"/>
                  </a:lnTo>
                  <a:lnTo>
                    <a:pt x="261" y="66"/>
                  </a:lnTo>
                  <a:lnTo>
                    <a:pt x="275" y="75"/>
                  </a:lnTo>
                  <a:lnTo>
                    <a:pt x="274" y="86"/>
                  </a:lnTo>
                  <a:lnTo>
                    <a:pt x="299" y="130"/>
                  </a:lnTo>
                  <a:lnTo>
                    <a:pt x="280" y="137"/>
                  </a:lnTo>
                  <a:lnTo>
                    <a:pt x="280" y="148"/>
                  </a:lnTo>
                  <a:lnTo>
                    <a:pt x="304" y="173"/>
                  </a:lnTo>
                  <a:lnTo>
                    <a:pt x="321" y="175"/>
                  </a:lnTo>
                  <a:lnTo>
                    <a:pt x="331" y="139"/>
                  </a:lnTo>
                  <a:lnTo>
                    <a:pt x="310" y="131"/>
                  </a:lnTo>
                  <a:lnTo>
                    <a:pt x="319" y="100"/>
                  </a:lnTo>
                  <a:lnTo>
                    <a:pt x="328" y="97"/>
                  </a:lnTo>
                  <a:lnTo>
                    <a:pt x="376" y="126"/>
                  </a:lnTo>
                  <a:lnTo>
                    <a:pt x="380" y="136"/>
                  </a:lnTo>
                  <a:lnTo>
                    <a:pt x="387" y="152"/>
                  </a:lnTo>
                  <a:lnTo>
                    <a:pt x="402" y="155"/>
                  </a:lnTo>
                  <a:lnTo>
                    <a:pt x="407" y="141"/>
                  </a:lnTo>
                  <a:lnTo>
                    <a:pt x="400" y="112"/>
                  </a:lnTo>
                  <a:lnTo>
                    <a:pt x="377" y="113"/>
                  </a:lnTo>
                  <a:lnTo>
                    <a:pt x="364" y="75"/>
                  </a:lnTo>
                  <a:lnTo>
                    <a:pt x="395" y="4"/>
                  </a:lnTo>
                  <a:lnTo>
                    <a:pt x="412" y="0"/>
                  </a:lnTo>
                  <a:lnTo>
                    <a:pt x="423" y="17"/>
                  </a:lnTo>
                  <a:lnTo>
                    <a:pt x="484" y="11"/>
                  </a:lnTo>
                  <a:lnTo>
                    <a:pt x="534" y="23"/>
                  </a:lnTo>
                  <a:lnTo>
                    <a:pt x="633" y="124"/>
                  </a:lnTo>
                  <a:lnTo>
                    <a:pt x="659" y="152"/>
                  </a:lnTo>
                  <a:lnTo>
                    <a:pt x="690" y="153"/>
                  </a:lnTo>
                  <a:lnTo>
                    <a:pt x="696" y="147"/>
                  </a:lnTo>
                  <a:lnTo>
                    <a:pt x="709" y="146"/>
                  </a:lnTo>
                  <a:lnTo>
                    <a:pt x="723" y="161"/>
                  </a:lnTo>
                  <a:lnTo>
                    <a:pt x="730" y="161"/>
                  </a:lnTo>
                  <a:lnTo>
                    <a:pt x="745" y="151"/>
                  </a:lnTo>
                  <a:lnTo>
                    <a:pt x="756" y="150"/>
                  </a:lnTo>
                  <a:lnTo>
                    <a:pt x="767" y="159"/>
                  </a:lnTo>
                  <a:lnTo>
                    <a:pt x="792" y="166"/>
                  </a:lnTo>
                  <a:lnTo>
                    <a:pt x="801" y="177"/>
                  </a:lnTo>
                  <a:lnTo>
                    <a:pt x="808" y="178"/>
                  </a:lnTo>
                  <a:lnTo>
                    <a:pt x="817" y="172"/>
                  </a:lnTo>
                  <a:lnTo>
                    <a:pt x="866" y="182"/>
                  </a:lnTo>
                  <a:lnTo>
                    <a:pt x="889" y="173"/>
                  </a:lnTo>
                  <a:lnTo>
                    <a:pt x="930" y="222"/>
                  </a:lnTo>
                  <a:lnTo>
                    <a:pt x="922" y="241"/>
                  </a:lnTo>
                  <a:lnTo>
                    <a:pt x="956" y="264"/>
                  </a:lnTo>
                  <a:lnTo>
                    <a:pt x="1024" y="277"/>
                  </a:lnTo>
                  <a:lnTo>
                    <a:pt x="973" y="328"/>
                  </a:lnTo>
                  <a:lnTo>
                    <a:pt x="902" y="320"/>
                  </a:lnTo>
                  <a:lnTo>
                    <a:pt x="862" y="344"/>
                  </a:lnTo>
                  <a:lnTo>
                    <a:pt x="854" y="366"/>
                  </a:lnTo>
                  <a:close/>
                </a:path>
              </a:pathLst>
            </a:custGeom>
            <a:grpFill/>
            <a:ln w="12700">
              <a:noFill/>
              <a:round/>
              <a:headEnd/>
              <a:tailEnd/>
            </a:ln>
          </p:spPr>
          <p:txBody>
            <a:bodyPr/>
            <a:lstStyle/>
            <a:p>
              <a:endParaRPr lang="de-DE"/>
            </a:p>
          </p:txBody>
        </p:sp>
        <p:sp>
          <p:nvSpPr>
            <p:cNvPr id="63" name="Freeform 5">
              <a:extLst>
                <a:ext uri="{FF2B5EF4-FFF2-40B4-BE49-F238E27FC236}">
                  <a16:creationId xmlns:a16="http://schemas.microsoft.com/office/drawing/2014/main" id="{E2061401-4B22-4409-DCD8-AD40CD8F4DAE}"/>
                </a:ext>
              </a:extLst>
            </p:cNvPr>
            <p:cNvSpPr>
              <a:spLocks/>
            </p:cNvSpPr>
            <p:nvPr/>
          </p:nvSpPr>
          <p:spPr bwMode="gray">
            <a:xfrm>
              <a:off x="2996" y="1707"/>
              <a:ext cx="784" cy="758"/>
            </a:xfrm>
            <a:custGeom>
              <a:avLst/>
              <a:gdLst/>
              <a:ahLst/>
              <a:cxnLst>
                <a:cxn ang="0">
                  <a:pos x="657" y="56"/>
                </a:cxn>
                <a:cxn ang="0">
                  <a:pos x="643" y="114"/>
                </a:cxn>
                <a:cxn ang="0">
                  <a:pos x="624" y="190"/>
                </a:cxn>
                <a:cxn ang="0">
                  <a:pos x="602" y="243"/>
                </a:cxn>
                <a:cxn ang="0">
                  <a:pos x="681" y="302"/>
                </a:cxn>
                <a:cxn ang="0">
                  <a:pos x="718" y="326"/>
                </a:cxn>
                <a:cxn ang="0">
                  <a:pos x="703" y="400"/>
                </a:cxn>
                <a:cxn ang="0">
                  <a:pos x="743" y="446"/>
                </a:cxn>
                <a:cxn ang="0">
                  <a:pos x="756" y="559"/>
                </a:cxn>
                <a:cxn ang="0">
                  <a:pos x="739" y="590"/>
                </a:cxn>
                <a:cxn ang="0">
                  <a:pos x="779" y="657"/>
                </a:cxn>
                <a:cxn ang="0">
                  <a:pos x="688" y="698"/>
                </a:cxn>
                <a:cxn ang="0">
                  <a:pos x="628" y="718"/>
                </a:cxn>
                <a:cxn ang="0">
                  <a:pos x="537" y="754"/>
                </a:cxn>
                <a:cxn ang="0">
                  <a:pos x="471" y="740"/>
                </a:cxn>
                <a:cxn ang="0">
                  <a:pos x="449" y="754"/>
                </a:cxn>
                <a:cxn ang="0">
                  <a:pos x="448" y="720"/>
                </a:cxn>
                <a:cxn ang="0">
                  <a:pos x="411" y="668"/>
                </a:cxn>
                <a:cxn ang="0">
                  <a:pos x="416" y="598"/>
                </a:cxn>
                <a:cxn ang="0">
                  <a:pos x="301" y="559"/>
                </a:cxn>
                <a:cxn ang="0">
                  <a:pos x="222" y="498"/>
                </a:cxn>
                <a:cxn ang="0">
                  <a:pos x="196" y="384"/>
                </a:cxn>
                <a:cxn ang="0">
                  <a:pos x="208" y="341"/>
                </a:cxn>
                <a:cxn ang="0">
                  <a:pos x="211" y="272"/>
                </a:cxn>
                <a:cxn ang="0">
                  <a:pos x="149" y="268"/>
                </a:cxn>
                <a:cxn ang="0">
                  <a:pos x="0" y="206"/>
                </a:cxn>
                <a:cxn ang="0">
                  <a:pos x="48" y="191"/>
                </a:cxn>
                <a:cxn ang="0">
                  <a:pos x="50" y="152"/>
                </a:cxn>
                <a:cxn ang="0">
                  <a:pos x="90" y="148"/>
                </a:cxn>
                <a:cxn ang="0">
                  <a:pos x="155" y="90"/>
                </a:cxn>
                <a:cxn ang="0">
                  <a:pos x="235" y="126"/>
                </a:cxn>
                <a:cxn ang="0">
                  <a:pos x="298" y="131"/>
                </a:cxn>
                <a:cxn ang="0">
                  <a:pos x="349" y="146"/>
                </a:cxn>
                <a:cxn ang="0">
                  <a:pos x="411" y="99"/>
                </a:cxn>
                <a:cxn ang="0">
                  <a:pos x="456" y="81"/>
                </a:cxn>
                <a:cxn ang="0">
                  <a:pos x="484" y="25"/>
                </a:cxn>
                <a:cxn ang="0">
                  <a:pos x="507" y="2"/>
                </a:cxn>
                <a:cxn ang="0">
                  <a:pos x="509" y="0"/>
                </a:cxn>
                <a:cxn ang="0">
                  <a:pos x="516" y="6"/>
                </a:cxn>
                <a:cxn ang="0">
                  <a:pos x="542" y="37"/>
                </a:cxn>
                <a:cxn ang="0">
                  <a:pos x="598" y="27"/>
                </a:cxn>
                <a:cxn ang="0">
                  <a:pos x="582" y="72"/>
                </a:cxn>
                <a:cxn ang="0">
                  <a:pos x="618" y="83"/>
                </a:cxn>
              </a:cxnLst>
              <a:rect l="0" t="0" r="r" b="b"/>
              <a:pathLst>
                <a:path w="784" h="758">
                  <a:moveTo>
                    <a:pt x="625" y="68"/>
                  </a:moveTo>
                  <a:lnTo>
                    <a:pt x="657" y="56"/>
                  </a:lnTo>
                  <a:lnTo>
                    <a:pt x="663" y="72"/>
                  </a:lnTo>
                  <a:lnTo>
                    <a:pt x="643" y="114"/>
                  </a:lnTo>
                  <a:lnTo>
                    <a:pt x="651" y="139"/>
                  </a:lnTo>
                  <a:lnTo>
                    <a:pt x="624" y="190"/>
                  </a:lnTo>
                  <a:lnTo>
                    <a:pt x="598" y="207"/>
                  </a:lnTo>
                  <a:lnTo>
                    <a:pt x="602" y="243"/>
                  </a:lnTo>
                  <a:lnTo>
                    <a:pt x="646" y="265"/>
                  </a:lnTo>
                  <a:lnTo>
                    <a:pt x="681" y="302"/>
                  </a:lnTo>
                  <a:lnTo>
                    <a:pt x="697" y="306"/>
                  </a:lnTo>
                  <a:lnTo>
                    <a:pt x="718" y="326"/>
                  </a:lnTo>
                  <a:lnTo>
                    <a:pt x="721" y="356"/>
                  </a:lnTo>
                  <a:lnTo>
                    <a:pt x="703" y="400"/>
                  </a:lnTo>
                  <a:lnTo>
                    <a:pt x="718" y="433"/>
                  </a:lnTo>
                  <a:lnTo>
                    <a:pt x="743" y="446"/>
                  </a:lnTo>
                  <a:lnTo>
                    <a:pt x="761" y="500"/>
                  </a:lnTo>
                  <a:lnTo>
                    <a:pt x="756" y="559"/>
                  </a:lnTo>
                  <a:lnTo>
                    <a:pt x="742" y="575"/>
                  </a:lnTo>
                  <a:lnTo>
                    <a:pt x="739" y="590"/>
                  </a:lnTo>
                  <a:lnTo>
                    <a:pt x="784" y="653"/>
                  </a:lnTo>
                  <a:lnTo>
                    <a:pt x="779" y="657"/>
                  </a:lnTo>
                  <a:lnTo>
                    <a:pt x="712" y="672"/>
                  </a:lnTo>
                  <a:lnTo>
                    <a:pt x="688" y="698"/>
                  </a:lnTo>
                  <a:lnTo>
                    <a:pt x="646" y="688"/>
                  </a:lnTo>
                  <a:lnTo>
                    <a:pt x="628" y="718"/>
                  </a:lnTo>
                  <a:lnTo>
                    <a:pt x="623" y="745"/>
                  </a:lnTo>
                  <a:lnTo>
                    <a:pt x="537" y="754"/>
                  </a:lnTo>
                  <a:lnTo>
                    <a:pt x="480" y="735"/>
                  </a:lnTo>
                  <a:lnTo>
                    <a:pt x="471" y="740"/>
                  </a:lnTo>
                  <a:lnTo>
                    <a:pt x="462" y="758"/>
                  </a:lnTo>
                  <a:lnTo>
                    <a:pt x="449" y="754"/>
                  </a:lnTo>
                  <a:lnTo>
                    <a:pt x="442" y="727"/>
                  </a:lnTo>
                  <a:lnTo>
                    <a:pt x="448" y="720"/>
                  </a:lnTo>
                  <a:lnTo>
                    <a:pt x="444" y="699"/>
                  </a:lnTo>
                  <a:lnTo>
                    <a:pt x="411" y="668"/>
                  </a:lnTo>
                  <a:lnTo>
                    <a:pt x="435" y="643"/>
                  </a:lnTo>
                  <a:lnTo>
                    <a:pt x="416" y="598"/>
                  </a:lnTo>
                  <a:lnTo>
                    <a:pt x="319" y="547"/>
                  </a:lnTo>
                  <a:lnTo>
                    <a:pt x="301" y="559"/>
                  </a:lnTo>
                  <a:lnTo>
                    <a:pt x="265" y="550"/>
                  </a:lnTo>
                  <a:lnTo>
                    <a:pt x="222" y="498"/>
                  </a:lnTo>
                  <a:lnTo>
                    <a:pt x="235" y="394"/>
                  </a:lnTo>
                  <a:lnTo>
                    <a:pt x="196" y="384"/>
                  </a:lnTo>
                  <a:lnTo>
                    <a:pt x="197" y="350"/>
                  </a:lnTo>
                  <a:lnTo>
                    <a:pt x="208" y="341"/>
                  </a:lnTo>
                  <a:lnTo>
                    <a:pt x="202" y="294"/>
                  </a:lnTo>
                  <a:lnTo>
                    <a:pt x="211" y="272"/>
                  </a:lnTo>
                  <a:lnTo>
                    <a:pt x="195" y="255"/>
                  </a:lnTo>
                  <a:lnTo>
                    <a:pt x="149" y="268"/>
                  </a:lnTo>
                  <a:lnTo>
                    <a:pt x="68" y="219"/>
                  </a:lnTo>
                  <a:lnTo>
                    <a:pt x="0" y="206"/>
                  </a:lnTo>
                  <a:lnTo>
                    <a:pt x="30" y="182"/>
                  </a:lnTo>
                  <a:lnTo>
                    <a:pt x="48" y="191"/>
                  </a:lnTo>
                  <a:lnTo>
                    <a:pt x="57" y="180"/>
                  </a:lnTo>
                  <a:lnTo>
                    <a:pt x="50" y="152"/>
                  </a:lnTo>
                  <a:lnTo>
                    <a:pt x="68" y="139"/>
                  </a:lnTo>
                  <a:lnTo>
                    <a:pt x="90" y="148"/>
                  </a:lnTo>
                  <a:lnTo>
                    <a:pt x="140" y="123"/>
                  </a:lnTo>
                  <a:lnTo>
                    <a:pt x="155" y="90"/>
                  </a:lnTo>
                  <a:lnTo>
                    <a:pt x="214" y="104"/>
                  </a:lnTo>
                  <a:lnTo>
                    <a:pt x="235" y="126"/>
                  </a:lnTo>
                  <a:lnTo>
                    <a:pt x="276" y="121"/>
                  </a:lnTo>
                  <a:lnTo>
                    <a:pt x="298" y="131"/>
                  </a:lnTo>
                  <a:lnTo>
                    <a:pt x="302" y="141"/>
                  </a:lnTo>
                  <a:lnTo>
                    <a:pt x="349" y="146"/>
                  </a:lnTo>
                  <a:lnTo>
                    <a:pt x="363" y="123"/>
                  </a:lnTo>
                  <a:lnTo>
                    <a:pt x="411" y="99"/>
                  </a:lnTo>
                  <a:lnTo>
                    <a:pt x="429" y="110"/>
                  </a:lnTo>
                  <a:lnTo>
                    <a:pt x="456" y="81"/>
                  </a:lnTo>
                  <a:lnTo>
                    <a:pt x="460" y="50"/>
                  </a:lnTo>
                  <a:lnTo>
                    <a:pt x="484" y="25"/>
                  </a:lnTo>
                  <a:lnTo>
                    <a:pt x="501" y="8"/>
                  </a:lnTo>
                  <a:lnTo>
                    <a:pt x="507" y="2"/>
                  </a:lnTo>
                  <a:lnTo>
                    <a:pt x="509" y="0"/>
                  </a:lnTo>
                  <a:lnTo>
                    <a:pt x="509" y="0"/>
                  </a:lnTo>
                  <a:lnTo>
                    <a:pt x="509" y="1"/>
                  </a:lnTo>
                  <a:lnTo>
                    <a:pt x="516" y="6"/>
                  </a:lnTo>
                  <a:lnTo>
                    <a:pt x="527" y="19"/>
                  </a:lnTo>
                  <a:lnTo>
                    <a:pt x="542" y="37"/>
                  </a:lnTo>
                  <a:lnTo>
                    <a:pt x="576" y="23"/>
                  </a:lnTo>
                  <a:lnTo>
                    <a:pt x="598" y="27"/>
                  </a:lnTo>
                  <a:lnTo>
                    <a:pt x="602" y="56"/>
                  </a:lnTo>
                  <a:lnTo>
                    <a:pt x="582" y="72"/>
                  </a:lnTo>
                  <a:lnTo>
                    <a:pt x="585" y="88"/>
                  </a:lnTo>
                  <a:lnTo>
                    <a:pt x="618" y="83"/>
                  </a:lnTo>
                  <a:lnTo>
                    <a:pt x="625" y="68"/>
                  </a:lnTo>
                  <a:close/>
                </a:path>
              </a:pathLst>
            </a:custGeom>
            <a:grpFill/>
            <a:ln w="12700">
              <a:noFill/>
              <a:round/>
              <a:headEnd/>
              <a:tailEnd/>
            </a:ln>
          </p:spPr>
          <p:txBody>
            <a:bodyPr/>
            <a:lstStyle/>
            <a:p>
              <a:endParaRPr lang="de-DE"/>
            </a:p>
          </p:txBody>
        </p:sp>
        <p:sp>
          <p:nvSpPr>
            <p:cNvPr id="64" name="Freeform 6">
              <a:extLst>
                <a:ext uri="{FF2B5EF4-FFF2-40B4-BE49-F238E27FC236}">
                  <a16:creationId xmlns:a16="http://schemas.microsoft.com/office/drawing/2014/main" id="{7D0EFD82-67DC-A3B5-A44E-5E68024FE833}"/>
                </a:ext>
              </a:extLst>
            </p:cNvPr>
            <p:cNvSpPr>
              <a:spLocks/>
            </p:cNvSpPr>
            <p:nvPr/>
          </p:nvSpPr>
          <p:spPr bwMode="gray">
            <a:xfrm>
              <a:off x="3190" y="2364"/>
              <a:ext cx="671" cy="529"/>
            </a:xfrm>
            <a:custGeom>
              <a:avLst/>
              <a:gdLst/>
              <a:ahLst/>
              <a:cxnLst>
                <a:cxn ang="0">
                  <a:pos x="671" y="257"/>
                </a:cxn>
                <a:cxn ang="0">
                  <a:pos x="628" y="279"/>
                </a:cxn>
                <a:cxn ang="0">
                  <a:pos x="591" y="272"/>
                </a:cxn>
                <a:cxn ang="0">
                  <a:pos x="593" y="250"/>
                </a:cxn>
                <a:cxn ang="0">
                  <a:pos x="553" y="213"/>
                </a:cxn>
                <a:cxn ang="0">
                  <a:pos x="512" y="212"/>
                </a:cxn>
                <a:cxn ang="0">
                  <a:pos x="510" y="239"/>
                </a:cxn>
                <a:cxn ang="0">
                  <a:pos x="537" y="250"/>
                </a:cxn>
                <a:cxn ang="0">
                  <a:pos x="537" y="263"/>
                </a:cxn>
                <a:cxn ang="0">
                  <a:pos x="379" y="336"/>
                </a:cxn>
                <a:cxn ang="0">
                  <a:pos x="348" y="377"/>
                </a:cxn>
                <a:cxn ang="0">
                  <a:pos x="310" y="390"/>
                </a:cxn>
                <a:cxn ang="0">
                  <a:pos x="298" y="386"/>
                </a:cxn>
                <a:cxn ang="0">
                  <a:pos x="286" y="400"/>
                </a:cxn>
                <a:cxn ang="0">
                  <a:pos x="288" y="417"/>
                </a:cxn>
                <a:cxn ang="0">
                  <a:pos x="234" y="448"/>
                </a:cxn>
                <a:cxn ang="0">
                  <a:pos x="204" y="440"/>
                </a:cxn>
                <a:cxn ang="0">
                  <a:pos x="112" y="494"/>
                </a:cxn>
                <a:cxn ang="0">
                  <a:pos x="100" y="526"/>
                </a:cxn>
                <a:cxn ang="0">
                  <a:pos x="90" y="529"/>
                </a:cxn>
                <a:cxn ang="0">
                  <a:pos x="75" y="514"/>
                </a:cxn>
                <a:cxn ang="0">
                  <a:pos x="53" y="492"/>
                </a:cxn>
                <a:cxn ang="0">
                  <a:pos x="0" y="458"/>
                </a:cxn>
                <a:cxn ang="0">
                  <a:pos x="9" y="413"/>
                </a:cxn>
                <a:cxn ang="0">
                  <a:pos x="19" y="405"/>
                </a:cxn>
                <a:cxn ang="0">
                  <a:pos x="51" y="405"/>
                </a:cxn>
                <a:cxn ang="0">
                  <a:pos x="79" y="362"/>
                </a:cxn>
                <a:cxn ang="0">
                  <a:pos x="63" y="321"/>
                </a:cxn>
                <a:cxn ang="0">
                  <a:pos x="145" y="271"/>
                </a:cxn>
                <a:cxn ang="0">
                  <a:pos x="139" y="252"/>
                </a:cxn>
                <a:cxn ang="0">
                  <a:pos x="63" y="221"/>
                </a:cxn>
                <a:cxn ang="0">
                  <a:pos x="25" y="92"/>
                </a:cxn>
                <a:cxn ang="0">
                  <a:pos x="48" y="57"/>
                </a:cxn>
                <a:cxn ang="0">
                  <a:pos x="163" y="11"/>
                </a:cxn>
                <a:cxn ang="0">
                  <a:pos x="179" y="24"/>
                </a:cxn>
                <a:cxn ang="0">
                  <a:pos x="190" y="21"/>
                </a:cxn>
                <a:cxn ang="0">
                  <a:pos x="202" y="6"/>
                </a:cxn>
                <a:cxn ang="0">
                  <a:pos x="217" y="11"/>
                </a:cxn>
                <a:cxn ang="0">
                  <a:pos x="250" y="42"/>
                </a:cxn>
                <a:cxn ang="0">
                  <a:pos x="254" y="63"/>
                </a:cxn>
                <a:cxn ang="0">
                  <a:pos x="248" y="70"/>
                </a:cxn>
                <a:cxn ang="0">
                  <a:pos x="255" y="97"/>
                </a:cxn>
                <a:cxn ang="0">
                  <a:pos x="268" y="101"/>
                </a:cxn>
                <a:cxn ang="0">
                  <a:pos x="277" y="83"/>
                </a:cxn>
                <a:cxn ang="0">
                  <a:pos x="286" y="78"/>
                </a:cxn>
                <a:cxn ang="0">
                  <a:pos x="343" y="97"/>
                </a:cxn>
                <a:cxn ang="0">
                  <a:pos x="429" y="88"/>
                </a:cxn>
                <a:cxn ang="0">
                  <a:pos x="434" y="61"/>
                </a:cxn>
                <a:cxn ang="0">
                  <a:pos x="452" y="31"/>
                </a:cxn>
                <a:cxn ang="0">
                  <a:pos x="494" y="41"/>
                </a:cxn>
                <a:cxn ang="0">
                  <a:pos x="518" y="15"/>
                </a:cxn>
                <a:cxn ang="0">
                  <a:pos x="585" y="0"/>
                </a:cxn>
                <a:cxn ang="0">
                  <a:pos x="579" y="20"/>
                </a:cxn>
                <a:cxn ang="0">
                  <a:pos x="587" y="30"/>
                </a:cxn>
                <a:cxn ang="0">
                  <a:pos x="622" y="39"/>
                </a:cxn>
                <a:cxn ang="0">
                  <a:pos x="660" y="139"/>
                </a:cxn>
                <a:cxn ang="0">
                  <a:pos x="650" y="195"/>
                </a:cxn>
                <a:cxn ang="0">
                  <a:pos x="671" y="219"/>
                </a:cxn>
                <a:cxn ang="0">
                  <a:pos x="671" y="257"/>
                </a:cxn>
              </a:cxnLst>
              <a:rect l="0" t="0" r="r" b="b"/>
              <a:pathLst>
                <a:path w="671" h="529">
                  <a:moveTo>
                    <a:pt x="671" y="257"/>
                  </a:moveTo>
                  <a:lnTo>
                    <a:pt x="628" y="279"/>
                  </a:lnTo>
                  <a:lnTo>
                    <a:pt x="591" y="272"/>
                  </a:lnTo>
                  <a:lnTo>
                    <a:pt x="593" y="250"/>
                  </a:lnTo>
                  <a:lnTo>
                    <a:pt x="553" y="213"/>
                  </a:lnTo>
                  <a:lnTo>
                    <a:pt x="512" y="212"/>
                  </a:lnTo>
                  <a:lnTo>
                    <a:pt x="510" y="239"/>
                  </a:lnTo>
                  <a:lnTo>
                    <a:pt x="537" y="250"/>
                  </a:lnTo>
                  <a:lnTo>
                    <a:pt x="537" y="263"/>
                  </a:lnTo>
                  <a:lnTo>
                    <a:pt x="379" y="336"/>
                  </a:lnTo>
                  <a:lnTo>
                    <a:pt x="348" y="377"/>
                  </a:lnTo>
                  <a:lnTo>
                    <a:pt x="310" y="390"/>
                  </a:lnTo>
                  <a:lnTo>
                    <a:pt x="298" y="386"/>
                  </a:lnTo>
                  <a:lnTo>
                    <a:pt x="286" y="400"/>
                  </a:lnTo>
                  <a:lnTo>
                    <a:pt x="288" y="417"/>
                  </a:lnTo>
                  <a:lnTo>
                    <a:pt x="234" y="448"/>
                  </a:lnTo>
                  <a:lnTo>
                    <a:pt x="204" y="440"/>
                  </a:lnTo>
                  <a:lnTo>
                    <a:pt x="112" y="494"/>
                  </a:lnTo>
                  <a:lnTo>
                    <a:pt x="100" y="526"/>
                  </a:lnTo>
                  <a:lnTo>
                    <a:pt x="90" y="529"/>
                  </a:lnTo>
                  <a:lnTo>
                    <a:pt x="75" y="514"/>
                  </a:lnTo>
                  <a:lnTo>
                    <a:pt x="53" y="492"/>
                  </a:lnTo>
                  <a:lnTo>
                    <a:pt x="0" y="458"/>
                  </a:lnTo>
                  <a:lnTo>
                    <a:pt x="9" y="413"/>
                  </a:lnTo>
                  <a:lnTo>
                    <a:pt x="19" y="405"/>
                  </a:lnTo>
                  <a:lnTo>
                    <a:pt x="51" y="405"/>
                  </a:lnTo>
                  <a:lnTo>
                    <a:pt x="79" y="362"/>
                  </a:lnTo>
                  <a:lnTo>
                    <a:pt x="63" y="321"/>
                  </a:lnTo>
                  <a:lnTo>
                    <a:pt x="145" y="271"/>
                  </a:lnTo>
                  <a:lnTo>
                    <a:pt x="139" y="252"/>
                  </a:lnTo>
                  <a:lnTo>
                    <a:pt x="63" y="221"/>
                  </a:lnTo>
                  <a:lnTo>
                    <a:pt x="25" y="92"/>
                  </a:lnTo>
                  <a:lnTo>
                    <a:pt x="48" y="57"/>
                  </a:lnTo>
                  <a:lnTo>
                    <a:pt x="163" y="11"/>
                  </a:lnTo>
                  <a:lnTo>
                    <a:pt x="179" y="24"/>
                  </a:lnTo>
                  <a:lnTo>
                    <a:pt x="190" y="21"/>
                  </a:lnTo>
                  <a:lnTo>
                    <a:pt x="202" y="6"/>
                  </a:lnTo>
                  <a:lnTo>
                    <a:pt x="217" y="11"/>
                  </a:lnTo>
                  <a:lnTo>
                    <a:pt x="250" y="42"/>
                  </a:lnTo>
                  <a:lnTo>
                    <a:pt x="254" y="63"/>
                  </a:lnTo>
                  <a:lnTo>
                    <a:pt x="248" y="70"/>
                  </a:lnTo>
                  <a:lnTo>
                    <a:pt x="255" y="97"/>
                  </a:lnTo>
                  <a:lnTo>
                    <a:pt x="268" y="101"/>
                  </a:lnTo>
                  <a:lnTo>
                    <a:pt x="277" y="83"/>
                  </a:lnTo>
                  <a:lnTo>
                    <a:pt x="286" y="78"/>
                  </a:lnTo>
                  <a:lnTo>
                    <a:pt x="343" y="97"/>
                  </a:lnTo>
                  <a:lnTo>
                    <a:pt x="429" y="88"/>
                  </a:lnTo>
                  <a:lnTo>
                    <a:pt x="434" y="61"/>
                  </a:lnTo>
                  <a:lnTo>
                    <a:pt x="452" y="31"/>
                  </a:lnTo>
                  <a:lnTo>
                    <a:pt x="494" y="41"/>
                  </a:lnTo>
                  <a:lnTo>
                    <a:pt x="518" y="15"/>
                  </a:lnTo>
                  <a:lnTo>
                    <a:pt x="585" y="0"/>
                  </a:lnTo>
                  <a:lnTo>
                    <a:pt x="579" y="20"/>
                  </a:lnTo>
                  <a:lnTo>
                    <a:pt x="587" y="30"/>
                  </a:lnTo>
                  <a:lnTo>
                    <a:pt x="622" y="39"/>
                  </a:lnTo>
                  <a:lnTo>
                    <a:pt x="660" y="139"/>
                  </a:lnTo>
                  <a:lnTo>
                    <a:pt x="650" y="195"/>
                  </a:lnTo>
                  <a:lnTo>
                    <a:pt x="671" y="219"/>
                  </a:lnTo>
                  <a:lnTo>
                    <a:pt x="671" y="257"/>
                  </a:lnTo>
                  <a:close/>
                </a:path>
              </a:pathLst>
            </a:custGeom>
            <a:grpFill/>
            <a:ln w="12700">
              <a:noFill/>
              <a:round/>
              <a:headEnd/>
              <a:tailEnd/>
            </a:ln>
          </p:spPr>
          <p:txBody>
            <a:bodyPr/>
            <a:lstStyle/>
            <a:p>
              <a:endParaRPr lang="de-DE"/>
            </a:p>
          </p:txBody>
        </p:sp>
        <p:sp>
          <p:nvSpPr>
            <p:cNvPr id="65" name="Freeform 7">
              <a:extLst>
                <a:ext uri="{FF2B5EF4-FFF2-40B4-BE49-F238E27FC236}">
                  <a16:creationId xmlns:a16="http://schemas.microsoft.com/office/drawing/2014/main" id="{3C52A9EA-30BB-1202-D67E-14E6DFB68B98}"/>
                </a:ext>
              </a:extLst>
            </p:cNvPr>
            <p:cNvSpPr>
              <a:spLocks/>
            </p:cNvSpPr>
            <p:nvPr/>
          </p:nvSpPr>
          <p:spPr bwMode="gray">
            <a:xfrm>
              <a:off x="2870" y="1926"/>
              <a:ext cx="561" cy="711"/>
            </a:xfrm>
            <a:custGeom>
              <a:avLst/>
              <a:gdLst/>
              <a:ahLst/>
              <a:cxnLst>
                <a:cxn ang="0">
                  <a:pos x="24" y="89"/>
                </a:cxn>
                <a:cxn ang="0">
                  <a:pos x="32" y="67"/>
                </a:cxn>
                <a:cxn ang="0">
                  <a:pos x="72" y="43"/>
                </a:cxn>
                <a:cxn ang="0">
                  <a:pos x="143" y="51"/>
                </a:cxn>
                <a:cxn ang="0">
                  <a:pos x="194" y="0"/>
                </a:cxn>
                <a:cxn ang="0">
                  <a:pos x="275" y="49"/>
                </a:cxn>
                <a:cxn ang="0">
                  <a:pos x="321" y="36"/>
                </a:cxn>
                <a:cxn ang="0">
                  <a:pos x="337" y="53"/>
                </a:cxn>
                <a:cxn ang="0">
                  <a:pos x="328" y="75"/>
                </a:cxn>
                <a:cxn ang="0">
                  <a:pos x="334" y="122"/>
                </a:cxn>
                <a:cxn ang="0">
                  <a:pos x="323" y="131"/>
                </a:cxn>
                <a:cxn ang="0">
                  <a:pos x="322" y="165"/>
                </a:cxn>
                <a:cxn ang="0">
                  <a:pos x="361" y="175"/>
                </a:cxn>
                <a:cxn ang="0">
                  <a:pos x="348" y="279"/>
                </a:cxn>
                <a:cxn ang="0">
                  <a:pos x="391" y="331"/>
                </a:cxn>
                <a:cxn ang="0">
                  <a:pos x="427" y="340"/>
                </a:cxn>
                <a:cxn ang="0">
                  <a:pos x="445" y="328"/>
                </a:cxn>
                <a:cxn ang="0">
                  <a:pos x="542" y="379"/>
                </a:cxn>
                <a:cxn ang="0">
                  <a:pos x="561" y="424"/>
                </a:cxn>
                <a:cxn ang="0">
                  <a:pos x="536" y="450"/>
                </a:cxn>
                <a:cxn ang="0">
                  <a:pos x="522" y="444"/>
                </a:cxn>
                <a:cxn ang="0">
                  <a:pos x="510" y="459"/>
                </a:cxn>
                <a:cxn ang="0">
                  <a:pos x="499" y="462"/>
                </a:cxn>
                <a:cxn ang="0">
                  <a:pos x="483" y="449"/>
                </a:cxn>
                <a:cxn ang="0">
                  <a:pos x="368" y="495"/>
                </a:cxn>
                <a:cxn ang="0">
                  <a:pos x="345" y="530"/>
                </a:cxn>
                <a:cxn ang="0">
                  <a:pos x="383" y="659"/>
                </a:cxn>
                <a:cxn ang="0">
                  <a:pos x="387" y="693"/>
                </a:cxn>
                <a:cxn ang="0">
                  <a:pos x="379" y="711"/>
                </a:cxn>
                <a:cxn ang="0">
                  <a:pos x="323" y="701"/>
                </a:cxn>
                <a:cxn ang="0">
                  <a:pos x="317" y="687"/>
                </a:cxn>
                <a:cxn ang="0">
                  <a:pos x="206" y="663"/>
                </a:cxn>
                <a:cxn ang="0">
                  <a:pos x="185" y="621"/>
                </a:cxn>
                <a:cxn ang="0">
                  <a:pos x="204" y="599"/>
                </a:cxn>
                <a:cxn ang="0">
                  <a:pos x="185" y="574"/>
                </a:cxn>
                <a:cxn ang="0">
                  <a:pos x="93" y="551"/>
                </a:cxn>
                <a:cxn ang="0">
                  <a:pos x="80" y="498"/>
                </a:cxn>
                <a:cxn ang="0">
                  <a:pos x="34" y="485"/>
                </a:cxn>
                <a:cxn ang="0">
                  <a:pos x="10" y="448"/>
                </a:cxn>
                <a:cxn ang="0">
                  <a:pos x="7" y="424"/>
                </a:cxn>
                <a:cxn ang="0">
                  <a:pos x="18" y="408"/>
                </a:cxn>
                <a:cxn ang="0">
                  <a:pos x="0" y="360"/>
                </a:cxn>
                <a:cxn ang="0">
                  <a:pos x="94" y="319"/>
                </a:cxn>
                <a:cxn ang="0">
                  <a:pos x="90" y="234"/>
                </a:cxn>
                <a:cxn ang="0">
                  <a:pos x="69" y="207"/>
                </a:cxn>
                <a:cxn ang="0">
                  <a:pos x="71" y="176"/>
                </a:cxn>
                <a:cxn ang="0">
                  <a:pos x="24" y="89"/>
                </a:cxn>
              </a:cxnLst>
              <a:rect l="0" t="0" r="r" b="b"/>
              <a:pathLst>
                <a:path w="561" h="711">
                  <a:moveTo>
                    <a:pt x="24" y="89"/>
                  </a:moveTo>
                  <a:lnTo>
                    <a:pt x="32" y="67"/>
                  </a:lnTo>
                  <a:lnTo>
                    <a:pt x="72" y="43"/>
                  </a:lnTo>
                  <a:lnTo>
                    <a:pt x="143" y="51"/>
                  </a:lnTo>
                  <a:lnTo>
                    <a:pt x="194" y="0"/>
                  </a:lnTo>
                  <a:lnTo>
                    <a:pt x="275" y="49"/>
                  </a:lnTo>
                  <a:lnTo>
                    <a:pt x="321" y="36"/>
                  </a:lnTo>
                  <a:lnTo>
                    <a:pt x="337" y="53"/>
                  </a:lnTo>
                  <a:lnTo>
                    <a:pt x="328" y="75"/>
                  </a:lnTo>
                  <a:lnTo>
                    <a:pt x="334" y="122"/>
                  </a:lnTo>
                  <a:lnTo>
                    <a:pt x="323" y="131"/>
                  </a:lnTo>
                  <a:lnTo>
                    <a:pt x="322" y="165"/>
                  </a:lnTo>
                  <a:lnTo>
                    <a:pt x="361" y="175"/>
                  </a:lnTo>
                  <a:lnTo>
                    <a:pt x="348" y="279"/>
                  </a:lnTo>
                  <a:lnTo>
                    <a:pt x="391" y="331"/>
                  </a:lnTo>
                  <a:lnTo>
                    <a:pt x="427" y="340"/>
                  </a:lnTo>
                  <a:lnTo>
                    <a:pt x="445" y="328"/>
                  </a:lnTo>
                  <a:lnTo>
                    <a:pt x="542" y="379"/>
                  </a:lnTo>
                  <a:lnTo>
                    <a:pt x="561" y="424"/>
                  </a:lnTo>
                  <a:lnTo>
                    <a:pt x="536" y="450"/>
                  </a:lnTo>
                  <a:lnTo>
                    <a:pt x="522" y="444"/>
                  </a:lnTo>
                  <a:lnTo>
                    <a:pt x="510" y="459"/>
                  </a:lnTo>
                  <a:lnTo>
                    <a:pt x="499" y="462"/>
                  </a:lnTo>
                  <a:lnTo>
                    <a:pt x="483" y="449"/>
                  </a:lnTo>
                  <a:lnTo>
                    <a:pt x="368" y="495"/>
                  </a:lnTo>
                  <a:lnTo>
                    <a:pt x="345" y="530"/>
                  </a:lnTo>
                  <a:lnTo>
                    <a:pt x="383" y="659"/>
                  </a:lnTo>
                  <a:lnTo>
                    <a:pt x="387" y="693"/>
                  </a:lnTo>
                  <a:lnTo>
                    <a:pt x="379" y="711"/>
                  </a:lnTo>
                  <a:lnTo>
                    <a:pt x="323" y="701"/>
                  </a:lnTo>
                  <a:lnTo>
                    <a:pt x="317" y="687"/>
                  </a:lnTo>
                  <a:lnTo>
                    <a:pt x="206" y="663"/>
                  </a:lnTo>
                  <a:lnTo>
                    <a:pt x="185" y="621"/>
                  </a:lnTo>
                  <a:lnTo>
                    <a:pt x="204" y="599"/>
                  </a:lnTo>
                  <a:lnTo>
                    <a:pt x="185" y="574"/>
                  </a:lnTo>
                  <a:lnTo>
                    <a:pt x="93" y="551"/>
                  </a:lnTo>
                  <a:lnTo>
                    <a:pt x="80" y="498"/>
                  </a:lnTo>
                  <a:lnTo>
                    <a:pt x="34" y="485"/>
                  </a:lnTo>
                  <a:lnTo>
                    <a:pt x="10" y="448"/>
                  </a:lnTo>
                  <a:lnTo>
                    <a:pt x="7" y="424"/>
                  </a:lnTo>
                  <a:lnTo>
                    <a:pt x="18" y="408"/>
                  </a:lnTo>
                  <a:lnTo>
                    <a:pt x="0" y="360"/>
                  </a:lnTo>
                  <a:lnTo>
                    <a:pt x="94" y="319"/>
                  </a:lnTo>
                  <a:lnTo>
                    <a:pt x="90" y="234"/>
                  </a:lnTo>
                  <a:lnTo>
                    <a:pt x="69" y="207"/>
                  </a:lnTo>
                  <a:lnTo>
                    <a:pt x="71" y="176"/>
                  </a:lnTo>
                  <a:lnTo>
                    <a:pt x="24" y="89"/>
                  </a:lnTo>
                  <a:close/>
                </a:path>
              </a:pathLst>
            </a:custGeom>
            <a:grpFill/>
            <a:ln w="12700">
              <a:noFill/>
              <a:round/>
              <a:headEnd/>
              <a:tailEnd/>
            </a:ln>
          </p:spPr>
          <p:txBody>
            <a:bodyPr/>
            <a:lstStyle/>
            <a:p>
              <a:endParaRPr lang="de-DE"/>
            </a:p>
          </p:txBody>
        </p:sp>
        <p:sp>
          <p:nvSpPr>
            <p:cNvPr id="66" name="Freeform 8">
              <a:extLst>
                <a:ext uri="{FF2B5EF4-FFF2-40B4-BE49-F238E27FC236}">
                  <a16:creationId xmlns:a16="http://schemas.microsoft.com/office/drawing/2014/main" id="{2B8B8430-47A4-C0B1-5B91-14CF9952BB6D}"/>
                </a:ext>
              </a:extLst>
            </p:cNvPr>
            <p:cNvSpPr>
              <a:spLocks/>
            </p:cNvSpPr>
            <p:nvPr/>
          </p:nvSpPr>
          <p:spPr bwMode="gray">
            <a:xfrm>
              <a:off x="2854" y="1414"/>
              <a:ext cx="799" cy="499"/>
            </a:xfrm>
            <a:custGeom>
              <a:avLst/>
              <a:gdLst/>
              <a:ahLst/>
              <a:cxnLst>
                <a:cxn ang="0">
                  <a:pos x="25" y="224"/>
                </a:cxn>
                <a:cxn ang="0">
                  <a:pos x="64" y="288"/>
                </a:cxn>
                <a:cxn ang="0">
                  <a:pos x="0" y="380"/>
                </a:cxn>
                <a:cxn ang="0">
                  <a:pos x="52" y="417"/>
                </a:cxn>
                <a:cxn ang="0">
                  <a:pos x="116" y="457"/>
                </a:cxn>
                <a:cxn ang="0">
                  <a:pos x="142" y="499"/>
                </a:cxn>
                <a:cxn ang="0">
                  <a:pos x="190" y="484"/>
                </a:cxn>
                <a:cxn ang="0">
                  <a:pos x="192" y="445"/>
                </a:cxn>
                <a:cxn ang="0">
                  <a:pos x="232" y="441"/>
                </a:cxn>
                <a:cxn ang="0">
                  <a:pos x="297" y="383"/>
                </a:cxn>
                <a:cxn ang="0">
                  <a:pos x="377" y="419"/>
                </a:cxn>
                <a:cxn ang="0">
                  <a:pos x="440" y="424"/>
                </a:cxn>
                <a:cxn ang="0">
                  <a:pos x="491" y="439"/>
                </a:cxn>
                <a:cxn ang="0">
                  <a:pos x="553" y="392"/>
                </a:cxn>
                <a:cxn ang="0">
                  <a:pos x="598" y="374"/>
                </a:cxn>
                <a:cxn ang="0">
                  <a:pos x="626" y="318"/>
                </a:cxn>
                <a:cxn ang="0">
                  <a:pos x="649" y="295"/>
                </a:cxn>
                <a:cxn ang="0">
                  <a:pos x="651" y="294"/>
                </a:cxn>
                <a:cxn ang="0">
                  <a:pos x="658" y="299"/>
                </a:cxn>
                <a:cxn ang="0">
                  <a:pos x="684" y="330"/>
                </a:cxn>
                <a:cxn ang="0">
                  <a:pos x="740" y="320"/>
                </a:cxn>
                <a:cxn ang="0">
                  <a:pos x="724" y="365"/>
                </a:cxn>
                <a:cxn ang="0">
                  <a:pos x="760" y="376"/>
                </a:cxn>
                <a:cxn ang="0">
                  <a:pos x="799" y="349"/>
                </a:cxn>
                <a:cxn ang="0">
                  <a:pos x="728" y="222"/>
                </a:cxn>
                <a:cxn ang="0">
                  <a:pos x="649" y="194"/>
                </a:cxn>
                <a:cxn ang="0">
                  <a:pos x="667" y="161"/>
                </a:cxn>
                <a:cxn ang="0">
                  <a:pos x="638" y="109"/>
                </a:cxn>
                <a:cxn ang="0">
                  <a:pos x="571" y="103"/>
                </a:cxn>
                <a:cxn ang="0">
                  <a:pos x="486" y="26"/>
                </a:cxn>
                <a:cxn ang="0">
                  <a:pos x="457" y="6"/>
                </a:cxn>
                <a:cxn ang="0">
                  <a:pos x="375" y="32"/>
                </a:cxn>
                <a:cxn ang="0">
                  <a:pos x="339" y="71"/>
                </a:cxn>
                <a:cxn ang="0">
                  <a:pos x="435" y="18"/>
                </a:cxn>
                <a:cxn ang="0">
                  <a:pos x="360" y="0"/>
                </a:cxn>
                <a:cxn ang="0">
                  <a:pos x="242" y="121"/>
                </a:cxn>
                <a:cxn ang="0">
                  <a:pos x="188" y="135"/>
                </a:cxn>
                <a:cxn ang="0">
                  <a:pos x="168" y="180"/>
                </a:cxn>
                <a:cxn ang="0">
                  <a:pos x="159" y="207"/>
                </a:cxn>
                <a:cxn ang="0">
                  <a:pos x="123" y="205"/>
                </a:cxn>
                <a:cxn ang="0">
                  <a:pos x="70" y="182"/>
                </a:cxn>
                <a:cxn ang="0">
                  <a:pos x="41" y="219"/>
                </a:cxn>
              </a:cxnLst>
              <a:rect l="0" t="0" r="r" b="b"/>
              <a:pathLst>
                <a:path w="799" h="499">
                  <a:moveTo>
                    <a:pt x="41" y="219"/>
                  </a:moveTo>
                  <a:lnTo>
                    <a:pt x="25" y="224"/>
                  </a:lnTo>
                  <a:lnTo>
                    <a:pt x="25" y="268"/>
                  </a:lnTo>
                  <a:lnTo>
                    <a:pt x="64" y="288"/>
                  </a:lnTo>
                  <a:lnTo>
                    <a:pt x="57" y="326"/>
                  </a:lnTo>
                  <a:lnTo>
                    <a:pt x="0" y="380"/>
                  </a:lnTo>
                  <a:lnTo>
                    <a:pt x="2" y="407"/>
                  </a:lnTo>
                  <a:lnTo>
                    <a:pt x="52" y="417"/>
                  </a:lnTo>
                  <a:lnTo>
                    <a:pt x="75" y="408"/>
                  </a:lnTo>
                  <a:lnTo>
                    <a:pt x="116" y="457"/>
                  </a:lnTo>
                  <a:lnTo>
                    <a:pt x="108" y="476"/>
                  </a:lnTo>
                  <a:lnTo>
                    <a:pt x="142" y="499"/>
                  </a:lnTo>
                  <a:lnTo>
                    <a:pt x="172" y="475"/>
                  </a:lnTo>
                  <a:lnTo>
                    <a:pt x="190" y="484"/>
                  </a:lnTo>
                  <a:lnTo>
                    <a:pt x="199" y="473"/>
                  </a:lnTo>
                  <a:lnTo>
                    <a:pt x="192" y="445"/>
                  </a:lnTo>
                  <a:lnTo>
                    <a:pt x="210" y="432"/>
                  </a:lnTo>
                  <a:lnTo>
                    <a:pt x="232" y="441"/>
                  </a:lnTo>
                  <a:lnTo>
                    <a:pt x="282" y="416"/>
                  </a:lnTo>
                  <a:lnTo>
                    <a:pt x="297" y="383"/>
                  </a:lnTo>
                  <a:lnTo>
                    <a:pt x="356" y="397"/>
                  </a:lnTo>
                  <a:lnTo>
                    <a:pt x="377" y="419"/>
                  </a:lnTo>
                  <a:lnTo>
                    <a:pt x="418" y="414"/>
                  </a:lnTo>
                  <a:lnTo>
                    <a:pt x="440" y="424"/>
                  </a:lnTo>
                  <a:lnTo>
                    <a:pt x="444" y="434"/>
                  </a:lnTo>
                  <a:lnTo>
                    <a:pt x="491" y="439"/>
                  </a:lnTo>
                  <a:lnTo>
                    <a:pt x="505" y="416"/>
                  </a:lnTo>
                  <a:lnTo>
                    <a:pt x="553" y="392"/>
                  </a:lnTo>
                  <a:lnTo>
                    <a:pt x="571" y="403"/>
                  </a:lnTo>
                  <a:lnTo>
                    <a:pt x="598" y="374"/>
                  </a:lnTo>
                  <a:lnTo>
                    <a:pt x="602" y="343"/>
                  </a:lnTo>
                  <a:lnTo>
                    <a:pt x="626" y="318"/>
                  </a:lnTo>
                  <a:lnTo>
                    <a:pt x="643" y="301"/>
                  </a:lnTo>
                  <a:lnTo>
                    <a:pt x="649" y="295"/>
                  </a:lnTo>
                  <a:lnTo>
                    <a:pt x="651" y="293"/>
                  </a:lnTo>
                  <a:lnTo>
                    <a:pt x="651" y="294"/>
                  </a:lnTo>
                  <a:lnTo>
                    <a:pt x="653" y="294"/>
                  </a:lnTo>
                  <a:lnTo>
                    <a:pt x="658" y="299"/>
                  </a:lnTo>
                  <a:lnTo>
                    <a:pt x="669" y="312"/>
                  </a:lnTo>
                  <a:lnTo>
                    <a:pt x="684" y="330"/>
                  </a:lnTo>
                  <a:lnTo>
                    <a:pt x="718" y="316"/>
                  </a:lnTo>
                  <a:lnTo>
                    <a:pt x="740" y="320"/>
                  </a:lnTo>
                  <a:lnTo>
                    <a:pt x="744" y="349"/>
                  </a:lnTo>
                  <a:lnTo>
                    <a:pt x="724" y="365"/>
                  </a:lnTo>
                  <a:lnTo>
                    <a:pt x="727" y="381"/>
                  </a:lnTo>
                  <a:lnTo>
                    <a:pt x="760" y="376"/>
                  </a:lnTo>
                  <a:lnTo>
                    <a:pt x="767" y="361"/>
                  </a:lnTo>
                  <a:lnTo>
                    <a:pt x="799" y="349"/>
                  </a:lnTo>
                  <a:lnTo>
                    <a:pt x="770" y="253"/>
                  </a:lnTo>
                  <a:lnTo>
                    <a:pt x="728" y="222"/>
                  </a:lnTo>
                  <a:lnTo>
                    <a:pt x="708" y="225"/>
                  </a:lnTo>
                  <a:lnTo>
                    <a:pt x="649" y="194"/>
                  </a:lnTo>
                  <a:lnTo>
                    <a:pt x="645" y="187"/>
                  </a:lnTo>
                  <a:lnTo>
                    <a:pt x="667" y="161"/>
                  </a:lnTo>
                  <a:lnTo>
                    <a:pt x="631" y="134"/>
                  </a:lnTo>
                  <a:lnTo>
                    <a:pt x="638" y="109"/>
                  </a:lnTo>
                  <a:lnTo>
                    <a:pt x="613" y="83"/>
                  </a:lnTo>
                  <a:lnTo>
                    <a:pt x="571" y="103"/>
                  </a:lnTo>
                  <a:lnTo>
                    <a:pt x="491" y="59"/>
                  </a:lnTo>
                  <a:lnTo>
                    <a:pt x="486" y="26"/>
                  </a:lnTo>
                  <a:lnTo>
                    <a:pt x="468" y="3"/>
                  </a:lnTo>
                  <a:lnTo>
                    <a:pt x="457" y="6"/>
                  </a:lnTo>
                  <a:lnTo>
                    <a:pt x="426" y="35"/>
                  </a:lnTo>
                  <a:lnTo>
                    <a:pt x="375" y="32"/>
                  </a:lnTo>
                  <a:lnTo>
                    <a:pt x="361" y="45"/>
                  </a:lnTo>
                  <a:lnTo>
                    <a:pt x="339" y="71"/>
                  </a:lnTo>
                  <a:lnTo>
                    <a:pt x="373" y="26"/>
                  </a:lnTo>
                  <a:lnTo>
                    <a:pt x="435" y="18"/>
                  </a:lnTo>
                  <a:lnTo>
                    <a:pt x="440" y="1"/>
                  </a:lnTo>
                  <a:lnTo>
                    <a:pt x="360" y="0"/>
                  </a:lnTo>
                  <a:lnTo>
                    <a:pt x="302" y="82"/>
                  </a:lnTo>
                  <a:lnTo>
                    <a:pt x="242" y="121"/>
                  </a:lnTo>
                  <a:lnTo>
                    <a:pt x="206" y="119"/>
                  </a:lnTo>
                  <a:lnTo>
                    <a:pt x="188" y="135"/>
                  </a:lnTo>
                  <a:lnTo>
                    <a:pt x="184" y="163"/>
                  </a:lnTo>
                  <a:lnTo>
                    <a:pt x="168" y="180"/>
                  </a:lnTo>
                  <a:lnTo>
                    <a:pt x="169" y="190"/>
                  </a:lnTo>
                  <a:lnTo>
                    <a:pt x="159" y="207"/>
                  </a:lnTo>
                  <a:lnTo>
                    <a:pt x="130" y="198"/>
                  </a:lnTo>
                  <a:lnTo>
                    <a:pt x="123" y="205"/>
                  </a:lnTo>
                  <a:lnTo>
                    <a:pt x="106" y="179"/>
                  </a:lnTo>
                  <a:lnTo>
                    <a:pt x="70" y="182"/>
                  </a:lnTo>
                  <a:lnTo>
                    <a:pt x="52" y="195"/>
                  </a:lnTo>
                  <a:lnTo>
                    <a:pt x="41" y="219"/>
                  </a:lnTo>
                  <a:close/>
                </a:path>
              </a:pathLst>
            </a:custGeom>
            <a:grpFill/>
            <a:ln w="12700">
              <a:noFill/>
              <a:round/>
              <a:headEnd/>
              <a:tailEnd/>
            </a:ln>
          </p:spPr>
          <p:txBody>
            <a:bodyPr/>
            <a:lstStyle/>
            <a:p>
              <a:endParaRPr lang="de-DE"/>
            </a:p>
          </p:txBody>
        </p:sp>
        <p:sp>
          <p:nvSpPr>
            <p:cNvPr id="67" name="Freeform 9">
              <a:extLst>
                <a:ext uri="{FF2B5EF4-FFF2-40B4-BE49-F238E27FC236}">
                  <a16:creationId xmlns:a16="http://schemas.microsoft.com/office/drawing/2014/main" id="{00D79D50-B310-AD3C-084C-AB60C5F2686B}"/>
                </a:ext>
              </a:extLst>
            </p:cNvPr>
            <p:cNvSpPr>
              <a:spLocks/>
            </p:cNvSpPr>
            <p:nvPr/>
          </p:nvSpPr>
          <p:spPr bwMode="gray">
            <a:xfrm>
              <a:off x="3489" y="1487"/>
              <a:ext cx="110" cy="118"/>
            </a:xfrm>
            <a:custGeom>
              <a:avLst/>
              <a:gdLst/>
              <a:ahLst/>
              <a:cxnLst>
                <a:cxn ang="0">
                  <a:pos x="160" y="106"/>
                </a:cxn>
                <a:cxn ang="0">
                  <a:pos x="156" y="145"/>
                </a:cxn>
                <a:cxn ang="0">
                  <a:pos x="54" y="171"/>
                </a:cxn>
                <a:cxn ang="0">
                  <a:pos x="35" y="153"/>
                </a:cxn>
                <a:cxn ang="0">
                  <a:pos x="95" y="112"/>
                </a:cxn>
                <a:cxn ang="0">
                  <a:pos x="95" y="89"/>
                </a:cxn>
                <a:cxn ang="0">
                  <a:pos x="63" y="67"/>
                </a:cxn>
                <a:cxn ang="0">
                  <a:pos x="40" y="93"/>
                </a:cxn>
                <a:cxn ang="0">
                  <a:pos x="8" y="86"/>
                </a:cxn>
                <a:cxn ang="0">
                  <a:pos x="16" y="40"/>
                </a:cxn>
                <a:cxn ang="0">
                  <a:pos x="0" y="22"/>
                </a:cxn>
                <a:cxn ang="0">
                  <a:pos x="13" y="0"/>
                </a:cxn>
                <a:cxn ang="0">
                  <a:pos x="160" y="106"/>
                </a:cxn>
              </a:cxnLst>
              <a:rect l="0" t="0" r="r" b="b"/>
              <a:pathLst>
                <a:path w="160" h="171">
                  <a:moveTo>
                    <a:pt x="160" y="106"/>
                  </a:moveTo>
                  <a:lnTo>
                    <a:pt x="156" y="145"/>
                  </a:lnTo>
                  <a:lnTo>
                    <a:pt x="54" y="171"/>
                  </a:lnTo>
                  <a:lnTo>
                    <a:pt x="35" y="153"/>
                  </a:lnTo>
                  <a:lnTo>
                    <a:pt x="95" y="112"/>
                  </a:lnTo>
                  <a:lnTo>
                    <a:pt x="95" y="89"/>
                  </a:lnTo>
                  <a:lnTo>
                    <a:pt x="63" y="67"/>
                  </a:lnTo>
                  <a:lnTo>
                    <a:pt x="40" y="93"/>
                  </a:lnTo>
                  <a:lnTo>
                    <a:pt x="8" y="86"/>
                  </a:lnTo>
                  <a:lnTo>
                    <a:pt x="16" y="40"/>
                  </a:lnTo>
                  <a:lnTo>
                    <a:pt x="0" y="22"/>
                  </a:lnTo>
                  <a:lnTo>
                    <a:pt x="13" y="0"/>
                  </a:lnTo>
                  <a:lnTo>
                    <a:pt x="160" y="106"/>
                  </a:lnTo>
                  <a:close/>
                </a:path>
              </a:pathLst>
            </a:custGeom>
            <a:grpFill/>
            <a:ln w="12700">
              <a:solidFill>
                <a:schemeClr val="bg1"/>
              </a:solidFill>
              <a:round/>
              <a:headEnd/>
              <a:tailEnd/>
            </a:ln>
          </p:spPr>
          <p:txBody>
            <a:bodyPr/>
            <a:lstStyle/>
            <a:p>
              <a:endParaRPr lang="de-DE"/>
            </a:p>
          </p:txBody>
        </p:sp>
        <p:sp>
          <p:nvSpPr>
            <p:cNvPr id="68" name="Freeform 10">
              <a:extLst>
                <a:ext uri="{FF2B5EF4-FFF2-40B4-BE49-F238E27FC236}">
                  <a16:creationId xmlns:a16="http://schemas.microsoft.com/office/drawing/2014/main" id="{AAE9F3C8-8E7A-855C-9F82-381513803F9B}"/>
                </a:ext>
              </a:extLst>
            </p:cNvPr>
            <p:cNvSpPr>
              <a:spLocks/>
            </p:cNvSpPr>
            <p:nvPr/>
          </p:nvSpPr>
          <p:spPr bwMode="gray">
            <a:xfrm>
              <a:off x="3347" y="1316"/>
              <a:ext cx="131" cy="160"/>
            </a:xfrm>
            <a:custGeom>
              <a:avLst/>
              <a:gdLst/>
              <a:ahLst/>
              <a:cxnLst>
                <a:cxn ang="0">
                  <a:pos x="78" y="231"/>
                </a:cxn>
                <a:cxn ang="0">
                  <a:pos x="1" y="175"/>
                </a:cxn>
                <a:cxn ang="0">
                  <a:pos x="16" y="162"/>
                </a:cxn>
                <a:cxn ang="0">
                  <a:pos x="35" y="140"/>
                </a:cxn>
                <a:cxn ang="0">
                  <a:pos x="0" y="130"/>
                </a:cxn>
                <a:cxn ang="0">
                  <a:pos x="11" y="85"/>
                </a:cxn>
                <a:cxn ang="0">
                  <a:pos x="68" y="75"/>
                </a:cxn>
                <a:cxn ang="0">
                  <a:pos x="65" y="45"/>
                </a:cxn>
                <a:cxn ang="0">
                  <a:pos x="46" y="38"/>
                </a:cxn>
                <a:cxn ang="0">
                  <a:pos x="15" y="57"/>
                </a:cxn>
                <a:cxn ang="0">
                  <a:pos x="12" y="37"/>
                </a:cxn>
                <a:cxn ang="0">
                  <a:pos x="41" y="0"/>
                </a:cxn>
                <a:cxn ang="0">
                  <a:pos x="72" y="7"/>
                </a:cxn>
                <a:cxn ang="0">
                  <a:pos x="105" y="39"/>
                </a:cxn>
                <a:cxn ang="0">
                  <a:pos x="150" y="44"/>
                </a:cxn>
                <a:cxn ang="0">
                  <a:pos x="162" y="80"/>
                </a:cxn>
                <a:cxn ang="0">
                  <a:pos x="129" y="110"/>
                </a:cxn>
                <a:cxn ang="0">
                  <a:pos x="143" y="136"/>
                </a:cxn>
                <a:cxn ang="0">
                  <a:pos x="189" y="177"/>
                </a:cxn>
                <a:cxn ang="0">
                  <a:pos x="169" y="198"/>
                </a:cxn>
                <a:cxn ang="0">
                  <a:pos x="142" y="179"/>
                </a:cxn>
                <a:cxn ang="0">
                  <a:pos x="84" y="193"/>
                </a:cxn>
                <a:cxn ang="0">
                  <a:pos x="78" y="231"/>
                </a:cxn>
              </a:cxnLst>
              <a:rect l="0" t="0" r="r" b="b"/>
              <a:pathLst>
                <a:path w="189" h="231">
                  <a:moveTo>
                    <a:pt x="78" y="231"/>
                  </a:moveTo>
                  <a:lnTo>
                    <a:pt x="1" y="175"/>
                  </a:lnTo>
                  <a:lnTo>
                    <a:pt x="16" y="162"/>
                  </a:lnTo>
                  <a:lnTo>
                    <a:pt x="35" y="140"/>
                  </a:lnTo>
                  <a:lnTo>
                    <a:pt x="0" y="130"/>
                  </a:lnTo>
                  <a:lnTo>
                    <a:pt x="11" y="85"/>
                  </a:lnTo>
                  <a:lnTo>
                    <a:pt x="68" y="75"/>
                  </a:lnTo>
                  <a:lnTo>
                    <a:pt x="65" y="45"/>
                  </a:lnTo>
                  <a:lnTo>
                    <a:pt x="46" y="38"/>
                  </a:lnTo>
                  <a:lnTo>
                    <a:pt x="15" y="57"/>
                  </a:lnTo>
                  <a:lnTo>
                    <a:pt x="12" y="37"/>
                  </a:lnTo>
                  <a:lnTo>
                    <a:pt x="41" y="0"/>
                  </a:lnTo>
                  <a:lnTo>
                    <a:pt x="72" y="7"/>
                  </a:lnTo>
                  <a:lnTo>
                    <a:pt x="105" y="39"/>
                  </a:lnTo>
                  <a:lnTo>
                    <a:pt x="150" y="44"/>
                  </a:lnTo>
                  <a:lnTo>
                    <a:pt x="162" y="80"/>
                  </a:lnTo>
                  <a:lnTo>
                    <a:pt x="129" y="110"/>
                  </a:lnTo>
                  <a:lnTo>
                    <a:pt x="143" y="136"/>
                  </a:lnTo>
                  <a:lnTo>
                    <a:pt x="189" y="177"/>
                  </a:lnTo>
                  <a:lnTo>
                    <a:pt x="169" y="198"/>
                  </a:lnTo>
                  <a:lnTo>
                    <a:pt x="142" y="179"/>
                  </a:lnTo>
                  <a:lnTo>
                    <a:pt x="84" y="193"/>
                  </a:lnTo>
                  <a:lnTo>
                    <a:pt x="78" y="231"/>
                  </a:lnTo>
                  <a:close/>
                </a:path>
              </a:pathLst>
            </a:custGeom>
            <a:grpFill/>
            <a:ln w="12700">
              <a:solidFill>
                <a:schemeClr val="bg1"/>
              </a:solidFill>
              <a:round/>
              <a:headEnd/>
              <a:tailEnd/>
            </a:ln>
          </p:spPr>
          <p:txBody>
            <a:bodyPr/>
            <a:lstStyle/>
            <a:p>
              <a:endParaRPr lang="de-DE"/>
            </a:p>
          </p:txBody>
        </p:sp>
        <p:sp>
          <p:nvSpPr>
            <p:cNvPr id="69" name="Freeform 11">
              <a:extLst>
                <a:ext uri="{FF2B5EF4-FFF2-40B4-BE49-F238E27FC236}">
                  <a16:creationId xmlns:a16="http://schemas.microsoft.com/office/drawing/2014/main" id="{7E8A351C-7EDF-389C-28A4-ABC0FA8E1601}"/>
                </a:ext>
              </a:extLst>
            </p:cNvPr>
            <p:cNvSpPr>
              <a:spLocks/>
            </p:cNvSpPr>
            <p:nvPr/>
          </p:nvSpPr>
          <p:spPr bwMode="gray">
            <a:xfrm>
              <a:off x="2424" y="1302"/>
              <a:ext cx="512" cy="525"/>
            </a:xfrm>
            <a:custGeom>
              <a:avLst/>
              <a:gdLst/>
              <a:ahLst/>
              <a:cxnLst>
                <a:cxn ang="0">
                  <a:pos x="479" y="159"/>
                </a:cxn>
                <a:cxn ang="0">
                  <a:pos x="424" y="185"/>
                </a:cxn>
                <a:cxn ang="0">
                  <a:pos x="352" y="146"/>
                </a:cxn>
                <a:cxn ang="0">
                  <a:pos x="315" y="189"/>
                </a:cxn>
                <a:cxn ang="0">
                  <a:pos x="317" y="167"/>
                </a:cxn>
                <a:cxn ang="0">
                  <a:pos x="307" y="136"/>
                </a:cxn>
                <a:cxn ang="0">
                  <a:pos x="248" y="141"/>
                </a:cxn>
                <a:cxn ang="0">
                  <a:pos x="289" y="66"/>
                </a:cxn>
                <a:cxn ang="0">
                  <a:pos x="188" y="8"/>
                </a:cxn>
                <a:cxn ang="0">
                  <a:pos x="35" y="0"/>
                </a:cxn>
                <a:cxn ang="0">
                  <a:pos x="1" y="33"/>
                </a:cxn>
                <a:cxn ang="0">
                  <a:pos x="86" y="158"/>
                </a:cxn>
                <a:cxn ang="0">
                  <a:pos x="11" y="176"/>
                </a:cxn>
                <a:cxn ang="0">
                  <a:pos x="17" y="215"/>
                </a:cxn>
                <a:cxn ang="0">
                  <a:pos x="65" y="218"/>
                </a:cxn>
                <a:cxn ang="0">
                  <a:pos x="48" y="260"/>
                </a:cxn>
                <a:cxn ang="0">
                  <a:pos x="86" y="293"/>
                </a:cxn>
                <a:cxn ang="0">
                  <a:pos x="56" y="302"/>
                </a:cxn>
                <a:cxn ang="0">
                  <a:pos x="142" y="345"/>
                </a:cxn>
                <a:cxn ang="0">
                  <a:pos x="243" y="456"/>
                </a:cxn>
                <a:cxn ang="0">
                  <a:pos x="253" y="430"/>
                </a:cxn>
                <a:cxn ang="0">
                  <a:pos x="273" y="425"/>
                </a:cxn>
                <a:cxn ang="0">
                  <a:pos x="324" y="380"/>
                </a:cxn>
                <a:cxn ang="0">
                  <a:pos x="332" y="407"/>
                </a:cxn>
                <a:cxn ang="0">
                  <a:pos x="326" y="453"/>
                </a:cxn>
                <a:cxn ang="0">
                  <a:pos x="380" y="496"/>
                </a:cxn>
                <a:cxn ang="0">
                  <a:pos x="408" y="513"/>
                </a:cxn>
                <a:cxn ang="0">
                  <a:pos x="424" y="525"/>
                </a:cxn>
                <a:cxn ang="0">
                  <a:pos x="430" y="492"/>
                </a:cxn>
                <a:cxn ang="0">
                  <a:pos x="464" y="460"/>
                </a:cxn>
                <a:cxn ang="0">
                  <a:pos x="493" y="401"/>
                </a:cxn>
                <a:cxn ang="0">
                  <a:pos x="454" y="337"/>
                </a:cxn>
                <a:cxn ang="0">
                  <a:pos x="475" y="323"/>
                </a:cxn>
                <a:cxn ang="0">
                  <a:pos x="475" y="323"/>
                </a:cxn>
                <a:cxn ang="0">
                  <a:pos x="468" y="297"/>
                </a:cxn>
                <a:cxn ang="0">
                  <a:pos x="444" y="274"/>
                </a:cxn>
                <a:cxn ang="0">
                  <a:pos x="512" y="219"/>
                </a:cxn>
              </a:cxnLst>
              <a:rect l="0" t="0" r="r" b="b"/>
              <a:pathLst>
                <a:path w="512" h="525">
                  <a:moveTo>
                    <a:pt x="505" y="168"/>
                  </a:moveTo>
                  <a:lnTo>
                    <a:pt x="479" y="159"/>
                  </a:lnTo>
                  <a:lnTo>
                    <a:pt x="435" y="189"/>
                  </a:lnTo>
                  <a:lnTo>
                    <a:pt x="424" y="185"/>
                  </a:lnTo>
                  <a:lnTo>
                    <a:pt x="413" y="171"/>
                  </a:lnTo>
                  <a:lnTo>
                    <a:pt x="352" y="146"/>
                  </a:lnTo>
                  <a:lnTo>
                    <a:pt x="334" y="154"/>
                  </a:lnTo>
                  <a:lnTo>
                    <a:pt x="315" y="189"/>
                  </a:lnTo>
                  <a:lnTo>
                    <a:pt x="311" y="186"/>
                  </a:lnTo>
                  <a:lnTo>
                    <a:pt x="317" y="167"/>
                  </a:lnTo>
                  <a:lnTo>
                    <a:pt x="322" y="144"/>
                  </a:lnTo>
                  <a:lnTo>
                    <a:pt x="307" y="136"/>
                  </a:lnTo>
                  <a:lnTo>
                    <a:pt x="261" y="147"/>
                  </a:lnTo>
                  <a:lnTo>
                    <a:pt x="248" y="141"/>
                  </a:lnTo>
                  <a:lnTo>
                    <a:pt x="286" y="119"/>
                  </a:lnTo>
                  <a:lnTo>
                    <a:pt x="289" y="66"/>
                  </a:lnTo>
                  <a:lnTo>
                    <a:pt x="273" y="37"/>
                  </a:lnTo>
                  <a:lnTo>
                    <a:pt x="188" y="8"/>
                  </a:lnTo>
                  <a:lnTo>
                    <a:pt x="168" y="19"/>
                  </a:lnTo>
                  <a:lnTo>
                    <a:pt x="35" y="0"/>
                  </a:lnTo>
                  <a:lnTo>
                    <a:pt x="0" y="10"/>
                  </a:lnTo>
                  <a:lnTo>
                    <a:pt x="1" y="33"/>
                  </a:lnTo>
                  <a:lnTo>
                    <a:pt x="70" y="117"/>
                  </a:lnTo>
                  <a:lnTo>
                    <a:pt x="86" y="158"/>
                  </a:lnTo>
                  <a:lnTo>
                    <a:pt x="75" y="159"/>
                  </a:lnTo>
                  <a:lnTo>
                    <a:pt x="11" y="176"/>
                  </a:lnTo>
                  <a:lnTo>
                    <a:pt x="1" y="193"/>
                  </a:lnTo>
                  <a:lnTo>
                    <a:pt x="17" y="215"/>
                  </a:lnTo>
                  <a:lnTo>
                    <a:pt x="63" y="205"/>
                  </a:lnTo>
                  <a:lnTo>
                    <a:pt x="65" y="218"/>
                  </a:lnTo>
                  <a:lnTo>
                    <a:pt x="50" y="221"/>
                  </a:lnTo>
                  <a:lnTo>
                    <a:pt x="48" y="260"/>
                  </a:lnTo>
                  <a:lnTo>
                    <a:pt x="79" y="265"/>
                  </a:lnTo>
                  <a:lnTo>
                    <a:pt x="86" y="293"/>
                  </a:lnTo>
                  <a:lnTo>
                    <a:pt x="58" y="289"/>
                  </a:lnTo>
                  <a:lnTo>
                    <a:pt x="56" y="302"/>
                  </a:lnTo>
                  <a:lnTo>
                    <a:pt x="85" y="342"/>
                  </a:lnTo>
                  <a:lnTo>
                    <a:pt x="142" y="345"/>
                  </a:lnTo>
                  <a:lnTo>
                    <a:pt x="204" y="412"/>
                  </a:lnTo>
                  <a:lnTo>
                    <a:pt x="243" y="456"/>
                  </a:lnTo>
                  <a:lnTo>
                    <a:pt x="248" y="432"/>
                  </a:lnTo>
                  <a:lnTo>
                    <a:pt x="253" y="430"/>
                  </a:lnTo>
                  <a:lnTo>
                    <a:pt x="264" y="444"/>
                  </a:lnTo>
                  <a:lnTo>
                    <a:pt x="273" y="425"/>
                  </a:lnTo>
                  <a:lnTo>
                    <a:pt x="297" y="410"/>
                  </a:lnTo>
                  <a:lnTo>
                    <a:pt x="324" y="380"/>
                  </a:lnTo>
                  <a:lnTo>
                    <a:pt x="334" y="381"/>
                  </a:lnTo>
                  <a:lnTo>
                    <a:pt x="332" y="407"/>
                  </a:lnTo>
                  <a:lnTo>
                    <a:pt x="338" y="420"/>
                  </a:lnTo>
                  <a:lnTo>
                    <a:pt x="326" y="453"/>
                  </a:lnTo>
                  <a:lnTo>
                    <a:pt x="336" y="457"/>
                  </a:lnTo>
                  <a:lnTo>
                    <a:pt x="380" y="496"/>
                  </a:lnTo>
                  <a:lnTo>
                    <a:pt x="383" y="506"/>
                  </a:lnTo>
                  <a:lnTo>
                    <a:pt x="408" y="513"/>
                  </a:lnTo>
                  <a:lnTo>
                    <a:pt x="417" y="524"/>
                  </a:lnTo>
                  <a:lnTo>
                    <a:pt x="424" y="525"/>
                  </a:lnTo>
                  <a:lnTo>
                    <a:pt x="433" y="519"/>
                  </a:lnTo>
                  <a:lnTo>
                    <a:pt x="430" y="492"/>
                  </a:lnTo>
                  <a:lnTo>
                    <a:pt x="463" y="468"/>
                  </a:lnTo>
                  <a:lnTo>
                    <a:pt x="464" y="460"/>
                  </a:lnTo>
                  <a:lnTo>
                    <a:pt x="487" y="438"/>
                  </a:lnTo>
                  <a:lnTo>
                    <a:pt x="493" y="401"/>
                  </a:lnTo>
                  <a:lnTo>
                    <a:pt x="455" y="380"/>
                  </a:lnTo>
                  <a:lnTo>
                    <a:pt x="454" y="337"/>
                  </a:lnTo>
                  <a:lnTo>
                    <a:pt x="471" y="331"/>
                  </a:lnTo>
                  <a:lnTo>
                    <a:pt x="475" y="323"/>
                  </a:lnTo>
                  <a:lnTo>
                    <a:pt x="482" y="307"/>
                  </a:lnTo>
                  <a:lnTo>
                    <a:pt x="475" y="323"/>
                  </a:lnTo>
                  <a:lnTo>
                    <a:pt x="475" y="297"/>
                  </a:lnTo>
                  <a:lnTo>
                    <a:pt x="468" y="297"/>
                  </a:lnTo>
                  <a:lnTo>
                    <a:pt x="460" y="300"/>
                  </a:lnTo>
                  <a:lnTo>
                    <a:pt x="444" y="274"/>
                  </a:lnTo>
                  <a:lnTo>
                    <a:pt x="508" y="226"/>
                  </a:lnTo>
                  <a:lnTo>
                    <a:pt x="512" y="219"/>
                  </a:lnTo>
                  <a:lnTo>
                    <a:pt x="505" y="168"/>
                  </a:lnTo>
                  <a:close/>
                </a:path>
              </a:pathLst>
            </a:custGeom>
            <a:grpFill/>
            <a:ln w="12700">
              <a:noFill/>
              <a:round/>
              <a:headEnd/>
              <a:tailEnd/>
            </a:ln>
          </p:spPr>
          <p:txBody>
            <a:bodyPr/>
            <a:lstStyle/>
            <a:p>
              <a:endParaRPr lang="de-DE"/>
            </a:p>
          </p:txBody>
        </p:sp>
        <p:sp>
          <p:nvSpPr>
            <p:cNvPr id="70" name="Freeform 12">
              <a:extLst>
                <a:ext uri="{FF2B5EF4-FFF2-40B4-BE49-F238E27FC236}">
                  <a16:creationId xmlns:a16="http://schemas.microsoft.com/office/drawing/2014/main" id="{88390E84-8782-CC1F-A175-8C1D2A6EEBA9}"/>
                </a:ext>
              </a:extLst>
            </p:cNvPr>
            <p:cNvSpPr>
              <a:spLocks/>
            </p:cNvSpPr>
            <p:nvPr/>
          </p:nvSpPr>
          <p:spPr bwMode="gray">
            <a:xfrm>
              <a:off x="2908" y="1405"/>
              <a:ext cx="68" cy="48"/>
            </a:xfrm>
            <a:custGeom>
              <a:avLst/>
              <a:gdLst/>
              <a:ahLst/>
              <a:cxnLst>
                <a:cxn ang="0">
                  <a:pos x="35" y="70"/>
                </a:cxn>
                <a:cxn ang="0">
                  <a:pos x="0" y="50"/>
                </a:cxn>
                <a:cxn ang="0">
                  <a:pos x="13" y="3"/>
                </a:cxn>
                <a:cxn ang="0">
                  <a:pos x="48" y="0"/>
                </a:cxn>
                <a:cxn ang="0">
                  <a:pos x="83" y="26"/>
                </a:cxn>
                <a:cxn ang="0">
                  <a:pos x="99" y="70"/>
                </a:cxn>
                <a:cxn ang="0">
                  <a:pos x="35" y="70"/>
                </a:cxn>
              </a:cxnLst>
              <a:rect l="0" t="0" r="r" b="b"/>
              <a:pathLst>
                <a:path w="99" h="70">
                  <a:moveTo>
                    <a:pt x="35" y="70"/>
                  </a:moveTo>
                  <a:lnTo>
                    <a:pt x="0" y="50"/>
                  </a:lnTo>
                  <a:lnTo>
                    <a:pt x="13" y="3"/>
                  </a:lnTo>
                  <a:lnTo>
                    <a:pt x="48" y="0"/>
                  </a:lnTo>
                  <a:lnTo>
                    <a:pt x="83" y="26"/>
                  </a:lnTo>
                  <a:lnTo>
                    <a:pt x="99" y="70"/>
                  </a:lnTo>
                  <a:lnTo>
                    <a:pt x="35" y="70"/>
                  </a:lnTo>
                  <a:close/>
                </a:path>
              </a:pathLst>
            </a:custGeom>
            <a:grpFill/>
            <a:ln w="12700">
              <a:solidFill>
                <a:schemeClr val="bg1"/>
              </a:solidFill>
              <a:round/>
              <a:headEnd/>
              <a:tailEnd/>
            </a:ln>
          </p:spPr>
          <p:txBody>
            <a:bodyPr/>
            <a:lstStyle/>
            <a:p>
              <a:endParaRPr lang="de-DE"/>
            </a:p>
          </p:txBody>
        </p:sp>
        <p:sp>
          <p:nvSpPr>
            <p:cNvPr id="71" name="Freeform 13">
              <a:extLst>
                <a:ext uri="{FF2B5EF4-FFF2-40B4-BE49-F238E27FC236}">
                  <a16:creationId xmlns:a16="http://schemas.microsoft.com/office/drawing/2014/main" id="{8A26334D-9A40-D518-C2FC-6C25F3AC1B48}"/>
                </a:ext>
              </a:extLst>
            </p:cNvPr>
            <p:cNvSpPr>
              <a:spLocks/>
            </p:cNvSpPr>
            <p:nvPr/>
          </p:nvSpPr>
          <p:spPr bwMode="gray">
            <a:xfrm>
              <a:off x="2347" y="1248"/>
              <a:ext cx="55" cy="112"/>
            </a:xfrm>
            <a:custGeom>
              <a:avLst/>
              <a:gdLst/>
              <a:ahLst/>
              <a:cxnLst>
                <a:cxn ang="0">
                  <a:pos x="69" y="13"/>
                </a:cxn>
                <a:cxn ang="0">
                  <a:pos x="42" y="82"/>
                </a:cxn>
                <a:cxn ang="0">
                  <a:pos x="80" y="82"/>
                </a:cxn>
                <a:cxn ang="0">
                  <a:pos x="79" y="97"/>
                </a:cxn>
                <a:cxn ang="0">
                  <a:pos x="47" y="115"/>
                </a:cxn>
                <a:cxn ang="0">
                  <a:pos x="32" y="111"/>
                </a:cxn>
                <a:cxn ang="0">
                  <a:pos x="24" y="163"/>
                </a:cxn>
                <a:cxn ang="0">
                  <a:pos x="0" y="160"/>
                </a:cxn>
                <a:cxn ang="0">
                  <a:pos x="13" y="60"/>
                </a:cxn>
                <a:cxn ang="0">
                  <a:pos x="40" y="0"/>
                </a:cxn>
                <a:cxn ang="0">
                  <a:pos x="69" y="13"/>
                </a:cxn>
              </a:cxnLst>
              <a:rect l="0" t="0" r="r" b="b"/>
              <a:pathLst>
                <a:path w="80" h="163">
                  <a:moveTo>
                    <a:pt x="69" y="13"/>
                  </a:moveTo>
                  <a:lnTo>
                    <a:pt x="42" y="82"/>
                  </a:lnTo>
                  <a:lnTo>
                    <a:pt x="80" y="82"/>
                  </a:lnTo>
                  <a:lnTo>
                    <a:pt x="79" y="97"/>
                  </a:lnTo>
                  <a:lnTo>
                    <a:pt x="47" y="115"/>
                  </a:lnTo>
                  <a:lnTo>
                    <a:pt x="32" y="111"/>
                  </a:lnTo>
                  <a:lnTo>
                    <a:pt x="24" y="163"/>
                  </a:lnTo>
                  <a:lnTo>
                    <a:pt x="0" y="160"/>
                  </a:lnTo>
                  <a:lnTo>
                    <a:pt x="13" y="60"/>
                  </a:lnTo>
                  <a:lnTo>
                    <a:pt x="40" y="0"/>
                  </a:lnTo>
                  <a:lnTo>
                    <a:pt x="69" y="13"/>
                  </a:lnTo>
                  <a:close/>
                </a:path>
              </a:pathLst>
            </a:custGeom>
            <a:grpFill/>
            <a:ln w="12700">
              <a:solidFill>
                <a:schemeClr val="bg1"/>
              </a:solidFill>
              <a:round/>
              <a:headEnd/>
              <a:tailEnd/>
            </a:ln>
          </p:spPr>
          <p:txBody>
            <a:bodyPr/>
            <a:lstStyle/>
            <a:p>
              <a:endParaRPr lang="de-DE"/>
            </a:p>
          </p:txBody>
        </p:sp>
        <p:sp>
          <p:nvSpPr>
            <p:cNvPr id="72" name="Freeform 14">
              <a:extLst>
                <a:ext uri="{FF2B5EF4-FFF2-40B4-BE49-F238E27FC236}">
                  <a16:creationId xmlns:a16="http://schemas.microsoft.com/office/drawing/2014/main" id="{96B12BCB-0B3C-709C-8B86-F9DC744F2E9D}"/>
                </a:ext>
              </a:extLst>
            </p:cNvPr>
            <p:cNvSpPr>
              <a:spLocks/>
            </p:cNvSpPr>
            <p:nvPr/>
          </p:nvSpPr>
          <p:spPr bwMode="gray">
            <a:xfrm>
              <a:off x="2378" y="1347"/>
              <a:ext cx="46" cy="35"/>
            </a:xfrm>
            <a:custGeom>
              <a:avLst/>
              <a:gdLst/>
              <a:ahLst/>
              <a:cxnLst>
                <a:cxn ang="0">
                  <a:pos x="66" y="13"/>
                </a:cxn>
                <a:cxn ang="0">
                  <a:pos x="57" y="43"/>
                </a:cxn>
                <a:cxn ang="0">
                  <a:pos x="21" y="50"/>
                </a:cxn>
                <a:cxn ang="0">
                  <a:pos x="0" y="36"/>
                </a:cxn>
                <a:cxn ang="0">
                  <a:pos x="17" y="4"/>
                </a:cxn>
                <a:cxn ang="0">
                  <a:pos x="58" y="0"/>
                </a:cxn>
                <a:cxn ang="0">
                  <a:pos x="66" y="13"/>
                </a:cxn>
              </a:cxnLst>
              <a:rect l="0" t="0" r="r" b="b"/>
              <a:pathLst>
                <a:path w="66" h="50">
                  <a:moveTo>
                    <a:pt x="66" y="13"/>
                  </a:moveTo>
                  <a:lnTo>
                    <a:pt x="57" y="43"/>
                  </a:lnTo>
                  <a:lnTo>
                    <a:pt x="21" y="50"/>
                  </a:lnTo>
                  <a:lnTo>
                    <a:pt x="0" y="36"/>
                  </a:lnTo>
                  <a:lnTo>
                    <a:pt x="17" y="4"/>
                  </a:lnTo>
                  <a:lnTo>
                    <a:pt x="58" y="0"/>
                  </a:lnTo>
                  <a:lnTo>
                    <a:pt x="66" y="13"/>
                  </a:lnTo>
                  <a:close/>
                </a:path>
              </a:pathLst>
            </a:custGeom>
            <a:grpFill/>
            <a:ln w="12700">
              <a:solidFill>
                <a:schemeClr val="bg1"/>
              </a:solidFill>
              <a:round/>
              <a:headEnd/>
              <a:tailEnd/>
            </a:ln>
          </p:spPr>
          <p:txBody>
            <a:bodyPr/>
            <a:lstStyle/>
            <a:p>
              <a:endParaRPr lang="de-DE"/>
            </a:p>
          </p:txBody>
        </p:sp>
        <p:sp>
          <p:nvSpPr>
            <p:cNvPr id="73" name="Freeform 15">
              <a:extLst>
                <a:ext uri="{FF2B5EF4-FFF2-40B4-BE49-F238E27FC236}">
                  <a16:creationId xmlns:a16="http://schemas.microsoft.com/office/drawing/2014/main" id="{D3805585-287D-7304-557F-C05E7EF74323}"/>
                </a:ext>
              </a:extLst>
            </p:cNvPr>
            <p:cNvSpPr>
              <a:spLocks/>
            </p:cNvSpPr>
            <p:nvPr/>
          </p:nvSpPr>
          <p:spPr bwMode="gray">
            <a:xfrm>
              <a:off x="1872" y="2121"/>
              <a:ext cx="756" cy="774"/>
            </a:xfrm>
            <a:custGeom>
              <a:avLst/>
              <a:gdLst/>
              <a:ahLst/>
              <a:cxnLst>
                <a:cxn ang="0">
                  <a:pos x="398" y="572"/>
                </a:cxn>
                <a:cxn ang="0">
                  <a:pos x="387" y="618"/>
                </a:cxn>
                <a:cxn ang="0">
                  <a:pos x="362" y="621"/>
                </a:cxn>
                <a:cxn ang="0">
                  <a:pos x="186" y="735"/>
                </a:cxn>
                <a:cxn ang="0">
                  <a:pos x="125" y="774"/>
                </a:cxn>
                <a:cxn ang="0">
                  <a:pos x="100" y="740"/>
                </a:cxn>
                <a:cxn ang="0">
                  <a:pos x="17" y="610"/>
                </a:cxn>
                <a:cxn ang="0">
                  <a:pos x="27" y="548"/>
                </a:cxn>
                <a:cxn ang="0">
                  <a:pos x="0" y="523"/>
                </a:cxn>
                <a:cxn ang="0">
                  <a:pos x="73" y="358"/>
                </a:cxn>
                <a:cxn ang="0">
                  <a:pos x="14" y="252"/>
                </a:cxn>
                <a:cxn ang="0">
                  <a:pos x="119" y="243"/>
                </a:cxn>
                <a:cxn ang="0">
                  <a:pos x="199" y="195"/>
                </a:cxn>
                <a:cxn ang="0">
                  <a:pos x="185" y="148"/>
                </a:cxn>
                <a:cxn ang="0">
                  <a:pos x="251" y="104"/>
                </a:cxn>
                <a:cxn ang="0">
                  <a:pos x="352" y="62"/>
                </a:cxn>
                <a:cxn ang="0">
                  <a:pos x="382" y="28"/>
                </a:cxn>
                <a:cxn ang="0">
                  <a:pos x="424" y="120"/>
                </a:cxn>
                <a:cxn ang="0">
                  <a:pos x="443" y="142"/>
                </a:cxn>
                <a:cxn ang="0">
                  <a:pos x="448" y="178"/>
                </a:cxn>
                <a:cxn ang="0">
                  <a:pos x="533" y="145"/>
                </a:cxn>
                <a:cxn ang="0">
                  <a:pos x="505" y="30"/>
                </a:cxn>
                <a:cxn ang="0">
                  <a:pos x="593" y="9"/>
                </a:cxn>
                <a:cxn ang="0">
                  <a:pos x="651" y="41"/>
                </a:cxn>
                <a:cxn ang="0">
                  <a:pos x="685" y="41"/>
                </a:cxn>
                <a:cxn ang="0">
                  <a:pos x="735" y="233"/>
                </a:cxn>
                <a:cxn ang="0">
                  <a:pos x="753" y="313"/>
                </a:cxn>
                <a:cxn ang="0">
                  <a:pos x="684" y="389"/>
                </a:cxn>
                <a:cxn ang="0">
                  <a:pos x="640" y="370"/>
                </a:cxn>
                <a:cxn ang="0">
                  <a:pos x="587" y="450"/>
                </a:cxn>
                <a:cxn ang="0">
                  <a:pos x="620" y="476"/>
                </a:cxn>
                <a:cxn ang="0">
                  <a:pos x="484" y="651"/>
                </a:cxn>
              </a:cxnLst>
              <a:rect l="0" t="0" r="r" b="b"/>
              <a:pathLst>
                <a:path w="756" h="774">
                  <a:moveTo>
                    <a:pt x="406" y="568"/>
                  </a:moveTo>
                  <a:lnTo>
                    <a:pt x="398" y="572"/>
                  </a:lnTo>
                  <a:lnTo>
                    <a:pt x="386" y="601"/>
                  </a:lnTo>
                  <a:lnTo>
                    <a:pt x="387" y="618"/>
                  </a:lnTo>
                  <a:lnTo>
                    <a:pt x="371" y="624"/>
                  </a:lnTo>
                  <a:lnTo>
                    <a:pt x="362" y="621"/>
                  </a:lnTo>
                  <a:lnTo>
                    <a:pt x="190" y="719"/>
                  </a:lnTo>
                  <a:lnTo>
                    <a:pt x="186" y="735"/>
                  </a:lnTo>
                  <a:lnTo>
                    <a:pt x="197" y="773"/>
                  </a:lnTo>
                  <a:lnTo>
                    <a:pt x="125" y="774"/>
                  </a:lnTo>
                  <a:lnTo>
                    <a:pt x="99" y="756"/>
                  </a:lnTo>
                  <a:lnTo>
                    <a:pt x="100" y="740"/>
                  </a:lnTo>
                  <a:lnTo>
                    <a:pt x="66" y="711"/>
                  </a:lnTo>
                  <a:lnTo>
                    <a:pt x="17" y="610"/>
                  </a:lnTo>
                  <a:lnTo>
                    <a:pt x="44" y="601"/>
                  </a:lnTo>
                  <a:lnTo>
                    <a:pt x="27" y="548"/>
                  </a:lnTo>
                  <a:lnTo>
                    <a:pt x="5" y="542"/>
                  </a:lnTo>
                  <a:lnTo>
                    <a:pt x="0" y="523"/>
                  </a:lnTo>
                  <a:lnTo>
                    <a:pt x="71" y="424"/>
                  </a:lnTo>
                  <a:lnTo>
                    <a:pt x="73" y="358"/>
                  </a:lnTo>
                  <a:lnTo>
                    <a:pt x="45" y="332"/>
                  </a:lnTo>
                  <a:lnTo>
                    <a:pt x="14" y="252"/>
                  </a:lnTo>
                  <a:lnTo>
                    <a:pt x="50" y="226"/>
                  </a:lnTo>
                  <a:lnTo>
                    <a:pt x="119" y="243"/>
                  </a:lnTo>
                  <a:lnTo>
                    <a:pt x="178" y="232"/>
                  </a:lnTo>
                  <a:lnTo>
                    <a:pt x="199" y="195"/>
                  </a:lnTo>
                  <a:lnTo>
                    <a:pt x="165" y="175"/>
                  </a:lnTo>
                  <a:lnTo>
                    <a:pt x="185" y="148"/>
                  </a:lnTo>
                  <a:lnTo>
                    <a:pt x="202" y="150"/>
                  </a:lnTo>
                  <a:lnTo>
                    <a:pt x="251" y="104"/>
                  </a:lnTo>
                  <a:lnTo>
                    <a:pt x="300" y="99"/>
                  </a:lnTo>
                  <a:lnTo>
                    <a:pt x="352" y="62"/>
                  </a:lnTo>
                  <a:lnTo>
                    <a:pt x="359" y="26"/>
                  </a:lnTo>
                  <a:lnTo>
                    <a:pt x="382" y="28"/>
                  </a:lnTo>
                  <a:lnTo>
                    <a:pt x="438" y="66"/>
                  </a:lnTo>
                  <a:lnTo>
                    <a:pt x="424" y="120"/>
                  </a:lnTo>
                  <a:lnTo>
                    <a:pt x="447" y="127"/>
                  </a:lnTo>
                  <a:lnTo>
                    <a:pt x="443" y="142"/>
                  </a:lnTo>
                  <a:lnTo>
                    <a:pt x="412" y="155"/>
                  </a:lnTo>
                  <a:lnTo>
                    <a:pt x="448" y="178"/>
                  </a:lnTo>
                  <a:lnTo>
                    <a:pt x="505" y="138"/>
                  </a:lnTo>
                  <a:lnTo>
                    <a:pt x="533" y="145"/>
                  </a:lnTo>
                  <a:lnTo>
                    <a:pt x="553" y="126"/>
                  </a:lnTo>
                  <a:lnTo>
                    <a:pt x="505" y="30"/>
                  </a:lnTo>
                  <a:lnTo>
                    <a:pt x="583" y="0"/>
                  </a:lnTo>
                  <a:lnTo>
                    <a:pt x="593" y="9"/>
                  </a:lnTo>
                  <a:lnTo>
                    <a:pt x="593" y="40"/>
                  </a:lnTo>
                  <a:lnTo>
                    <a:pt x="651" y="41"/>
                  </a:lnTo>
                  <a:lnTo>
                    <a:pt x="665" y="16"/>
                  </a:lnTo>
                  <a:lnTo>
                    <a:pt x="685" y="41"/>
                  </a:lnTo>
                  <a:lnTo>
                    <a:pt x="653" y="88"/>
                  </a:lnTo>
                  <a:lnTo>
                    <a:pt x="735" y="233"/>
                  </a:lnTo>
                  <a:lnTo>
                    <a:pt x="756" y="234"/>
                  </a:lnTo>
                  <a:lnTo>
                    <a:pt x="753" y="313"/>
                  </a:lnTo>
                  <a:lnTo>
                    <a:pt x="706" y="390"/>
                  </a:lnTo>
                  <a:lnTo>
                    <a:pt x="684" y="389"/>
                  </a:lnTo>
                  <a:lnTo>
                    <a:pt x="682" y="365"/>
                  </a:lnTo>
                  <a:lnTo>
                    <a:pt x="640" y="370"/>
                  </a:lnTo>
                  <a:lnTo>
                    <a:pt x="574" y="438"/>
                  </a:lnTo>
                  <a:lnTo>
                    <a:pt x="587" y="450"/>
                  </a:lnTo>
                  <a:lnTo>
                    <a:pt x="604" y="438"/>
                  </a:lnTo>
                  <a:lnTo>
                    <a:pt x="620" y="476"/>
                  </a:lnTo>
                  <a:lnTo>
                    <a:pt x="564" y="509"/>
                  </a:lnTo>
                  <a:lnTo>
                    <a:pt x="484" y="651"/>
                  </a:lnTo>
                  <a:lnTo>
                    <a:pt x="406" y="568"/>
                  </a:lnTo>
                  <a:close/>
                </a:path>
              </a:pathLst>
            </a:custGeom>
            <a:grpFill/>
            <a:ln w="12700">
              <a:noFill/>
              <a:round/>
              <a:headEnd/>
              <a:tailEnd/>
            </a:ln>
          </p:spPr>
          <p:txBody>
            <a:bodyPr/>
            <a:lstStyle/>
            <a:p>
              <a:endParaRPr lang="de-DE"/>
            </a:p>
          </p:txBody>
        </p:sp>
        <p:sp>
          <p:nvSpPr>
            <p:cNvPr id="74" name="Freeform 16">
              <a:extLst>
                <a:ext uri="{FF2B5EF4-FFF2-40B4-BE49-F238E27FC236}">
                  <a16:creationId xmlns:a16="http://schemas.microsoft.com/office/drawing/2014/main" id="{2CF6FD8E-C773-B0A5-AA6B-690E56B2DACE}"/>
                </a:ext>
              </a:extLst>
            </p:cNvPr>
            <p:cNvSpPr>
              <a:spLocks/>
            </p:cNvSpPr>
            <p:nvPr/>
          </p:nvSpPr>
          <p:spPr bwMode="gray">
            <a:xfrm>
              <a:off x="2283" y="2433"/>
              <a:ext cx="527" cy="743"/>
            </a:xfrm>
            <a:custGeom>
              <a:avLst/>
              <a:gdLst/>
              <a:ahLst/>
              <a:cxnLst>
                <a:cxn ang="0">
                  <a:pos x="74" y="338"/>
                </a:cxn>
                <a:cxn ang="0">
                  <a:pos x="153" y="197"/>
                </a:cxn>
                <a:cxn ang="0">
                  <a:pos x="209" y="164"/>
                </a:cxn>
                <a:cxn ang="0">
                  <a:pos x="193" y="126"/>
                </a:cxn>
                <a:cxn ang="0">
                  <a:pos x="176" y="138"/>
                </a:cxn>
                <a:cxn ang="0">
                  <a:pos x="163" y="126"/>
                </a:cxn>
                <a:cxn ang="0">
                  <a:pos x="229" y="58"/>
                </a:cxn>
                <a:cxn ang="0">
                  <a:pos x="271" y="53"/>
                </a:cxn>
                <a:cxn ang="0">
                  <a:pos x="273" y="77"/>
                </a:cxn>
                <a:cxn ang="0">
                  <a:pos x="295" y="78"/>
                </a:cxn>
                <a:cxn ang="0">
                  <a:pos x="342" y="1"/>
                </a:cxn>
                <a:cxn ang="0">
                  <a:pos x="392" y="0"/>
                </a:cxn>
                <a:cxn ang="0">
                  <a:pos x="400" y="26"/>
                </a:cxn>
                <a:cxn ang="0">
                  <a:pos x="373" y="105"/>
                </a:cxn>
                <a:cxn ang="0">
                  <a:pos x="404" y="118"/>
                </a:cxn>
                <a:cxn ang="0">
                  <a:pos x="432" y="70"/>
                </a:cxn>
                <a:cxn ang="0">
                  <a:pos x="459" y="87"/>
                </a:cxn>
                <a:cxn ang="0">
                  <a:pos x="527" y="148"/>
                </a:cxn>
                <a:cxn ang="0">
                  <a:pos x="518" y="216"/>
                </a:cxn>
                <a:cxn ang="0">
                  <a:pos x="472" y="270"/>
                </a:cxn>
                <a:cxn ang="0">
                  <a:pos x="458" y="324"/>
                </a:cxn>
                <a:cxn ang="0">
                  <a:pos x="503" y="338"/>
                </a:cxn>
                <a:cxn ang="0">
                  <a:pos x="513" y="368"/>
                </a:cxn>
                <a:cxn ang="0">
                  <a:pos x="461" y="428"/>
                </a:cxn>
                <a:cxn ang="0">
                  <a:pos x="435" y="419"/>
                </a:cxn>
                <a:cxn ang="0">
                  <a:pos x="413" y="434"/>
                </a:cxn>
                <a:cxn ang="0">
                  <a:pos x="413" y="488"/>
                </a:cxn>
                <a:cxn ang="0">
                  <a:pos x="382" y="490"/>
                </a:cxn>
                <a:cxn ang="0">
                  <a:pos x="384" y="532"/>
                </a:cxn>
                <a:cxn ang="0">
                  <a:pos x="361" y="536"/>
                </a:cxn>
                <a:cxn ang="0">
                  <a:pos x="352" y="524"/>
                </a:cxn>
                <a:cxn ang="0">
                  <a:pos x="265" y="541"/>
                </a:cxn>
                <a:cxn ang="0">
                  <a:pos x="302" y="670"/>
                </a:cxn>
                <a:cxn ang="0">
                  <a:pos x="299" y="721"/>
                </a:cxn>
                <a:cxn ang="0">
                  <a:pos x="285" y="742"/>
                </a:cxn>
                <a:cxn ang="0">
                  <a:pos x="221" y="743"/>
                </a:cxn>
                <a:cxn ang="0">
                  <a:pos x="214" y="705"/>
                </a:cxn>
                <a:cxn ang="0">
                  <a:pos x="142" y="719"/>
                </a:cxn>
                <a:cxn ang="0">
                  <a:pos x="131" y="696"/>
                </a:cxn>
                <a:cxn ang="0">
                  <a:pos x="138" y="656"/>
                </a:cxn>
                <a:cxn ang="0">
                  <a:pos x="121" y="584"/>
                </a:cxn>
                <a:cxn ang="0">
                  <a:pos x="78" y="576"/>
                </a:cxn>
                <a:cxn ang="0">
                  <a:pos x="46" y="591"/>
                </a:cxn>
                <a:cxn ang="0">
                  <a:pos x="28" y="589"/>
                </a:cxn>
                <a:cxn ang="0">
                  <a:pos x="0" y="555"/>
                </a:cxn>
                <a:cxn ang="0">
                  <a:pos x="75" y="480"/>
                </a:cxn>
                <a:cxn ang="0">
                  <a:pos x="59" y="447"/>
                </a:cxn>
                <a:cxn ang="0">
                  <a:pos x="42" y="439"/>
                </a:cxn>
                <a:cxn ang="0">
                  <a:pos x="40" y="400"/>
                </a:cxn>
                <a:cxn ang="0">
                  <a:pos x="79" y="372"/>
                </a:cxn>
                <a:cxn ang="0">
                  <a:pos x="74" y="338"/>
                </a:cxn>
              </a:cxnLst>
              <a:rect l="0" t="0" r="r" b="b"/>
              <a:pathLst>
                <a:path w="527" h="743">
                  <a:moveTo>
                    <a:pt x="74" y="338"/>
                  </a:moveTo>
                  <a:lnTo>
                    <a:pt x="153" y="197"/>
                  </a:lnTo>
                  <a:lnTo>
                    <a:pt x="209" y="164"/>
                  </a:lnTo>
                  <a:lnTo>
                    <a:pt x="193" y="126"/>
                  </a:lnTo>
                  <a:lnTo>
                    <a:pt x="176" y="138"/>
                  </a:lnTo>
                  <a:lnTo>
                    <a:pt x="163" y="126"/>
                  </a:lnTo>
                  <a:lnTo>
                    <a:pt x="229" y="58"/>
                  </a:lnTo>
                  <a:lnTo>
                    <a:pt x="271" y="53"/>
                  </a:lnTo>
                  <a:lnTo>
                    <a:pt x="273" y="77"/>
                  </a:lnTo>
                  <a:lnTo>
                    <a:pt x="295" y="78"/>
                  </a:lnTo>
                  <a:lnTo>
                    <a:pt x="342" y="1"/>
                  </a:lnTo>
                  <a:lnTo>
                    <a:pt x="392" y="0"/>
                  </a:lnTo>
                  <a:lnTo>
                    <a:pt x="400" y="26"/>
                  </a:lnTo>
                  <a:lnTo>
                    <a:pt x="373" y="105"/>
                  </a:lnTo>
                  <a:lnTo>
                    <a:pt x="404" y="118"/>
                  </a:lnTo>
                  <a:lnTo>
                    <a:pt x="432" y="70"/>
                  </a:lnTo>
                  <a:lnTo>
                    <a:pt x="459" y="87"/>
                  </a:lnTo>
                  <a:lnTo>
                    <a:pt x="527" y="148"/>
                  </a:lnTo>
                  <a:lnTo>
                    <a:pt x="518" y="216"/>
                  </a:lnTo>
                  <a:lnTo>
                    <a:pt x="472" y="270"/>
                  </a:lnTo>
                  <a:lnTo>
                    <a:pt x="458" y="324"/>
                  </a:lnTo>
                  <a:lnTo>
                    <a:pt x="503" y="338"/>
                  </a:lnTo>
                  <a:lnTo>
                    <a:pt x="513" y="368"/>
                  </a:lnTo>
                  <a:lnTo>
                    <a:pt x="461" y="428"/>
                  </a:lnTo>
                  <a:lnTo>
                    <a:pt x="435" y="419"/>
                  </a:lnTo>
                  <a:lnTo>
                    <a:pt x="413" y="434"/>
                  </a:lnTo>
                  <a:lnTo>
                    <a:pt x="413" y="488"/>
                  </a:lnTo>
                  <a:lnTo>
                    <a:pt x="382" y="490"/>
                  </a:lnTo>
                  <a:lnTo>
                    <a:pt x="384" y="532"/>
                  </a:lnTo>
                  <a:lnTo>
                    <a:pt x="361" y="536"/>
                  </a:lnTo>
                  <a:lnTo>
                    <a:pt x="352" y="524"/>
                  </a:lnTo>
                  <a:lnTo>
                    <a:pt x="265" y="541"/>
                  </a:lnTo>
                  <a:lnTo>
                    <a:pt x="302" y="670"/>
                  </a:lnTo>
                  <a:lnTo>
                    <a:pt x="299" y="721"/>
                  </a:lnTo>
                  <a:lnTo>
                    <a:pt x="285" y="742"/>
                  </a:lnTo>
                  <a:lnTo>
                    <a:pt x="221" y="743"/>
                  </a:lnTo>
                  <a:lnTo>
                    <a:pt x="214" y="705"/>
                  </a:lnTo>
                  <a:lnTo>
                    <a:pt x="142" y="719"/>
                  </a:lnTo>
                  <a:lnTo>
                    <a:pt x="131" y="696"/>
                  </a:lnTo>
                  <a:lnTo>
                    <a:pt x="138" y="656"/>
                  </a:lnTo>
                  <a:lnTo>
                    <a:pt x="121" y="584"/>
                  </a:lnTo>
                  <a:lnTo>
                    <a:pt x="78" y="576"/>
                  </a:lnTo>
                  <a:lnTo>
                    <a:pt x="46" y="591"/>
                  </a:lnTo>
                  <a:lnTo>
                    <a:pt x="28" y="589"/>
                  </a:lnTo>
                  <a:lnTo>
                    <a:pt x="0" y="555"/>
                  </a:lnTo>
                  <a:lnTo>
                    <a:pt x="75" y="480"/>
                  </a:lnTo>
                  <a:lnTo>
                    <a:pt x="59" y="447"/>
                  </a:lnTo>
                  <a:lnTo>
                    <a:pt x="42" y="439"/>
                  </a:lnTo>
                  <a:lnTo>
                    <a:pt x="40" y="400"/>
                  </a:lnTo>
                  <a:lnTo>
                    <a:pt x="79" y="372"/>
                  </a:lnTo>
                  <a:lnTo>
                    <a:pt x="74" y="338"/>
                  </a:lnTo>
                  <a:close/>
                </a:path>
              </a:pathLst>
            </a:custGeom>
            <a:grpFill/>
            <a:ln w="12700">
              <a:noFill/>
              <a:round/>
              <a:headEnd/>
              <a:tailEnd/>
            </a:ln>
          </p:spPr>
          <p:txBody>
            <a:bodyPr/>
            <a:lstStyle/>
            <a:p>
              <a:endParaRPr lang="de-DE"/>
            </a:p>
          </p:txBody>
        </p:sp>
        <p:sp>
          <p:nvSpPr>
            <p:cNvPr id="75" name="Freeform 17">
              <a:extLst>
                <a:ext uri="{FF2B5EF4-FFF2-40B4-BE49-F238E27FC236}">
                  <a16:creationId xmlns:a16="http://schemas.microsoft.com/office/drawing/2014/main" id="{BF7F2568-7FA9-BDB9-62F6-2B951174D0E9}"/>
                </a:ext>
              </a:extLst>
            </p:cNvPr>
            <p:cNvSpPr>
              <a:spLocks/>
            </p:cNvSpPr>
            <p:nvPr/>
          </p:nvSpPr>
          <p:spPr bwMode="gray">
            <a:xfrm>
              <a:off x="1920" y="2689"/>
              <a:ext cx="523" cy="678"/>
            </a:xfrm>
            <a:custGeom>
              <a:avLst/>
              <a:gdLst/>
              <a:ahLst/>
              <a:cxnLst>
                <a:cxn ang="0">
                  <a:pos x="49" y="486"/>
                </a:cxn>
                <a:cxn ang="0">
                  <a:pos x="48" y="478"/>
                </a:cxn>
                <a:cxn ang="0">
                  <a:pos x="78" y="433"/>
                </a:cxn>
                <a:cxn ang="0">
                  <a:pos x="88" y="388"/>
                </a:cxn>
                <a:cxn ang="0">
                  <a:pos x="22" y="352"/>
                </a:cxn>
                <a:cxn ang="0">
                  <a:pos x="0" y="315"/>
                </a:cxn>
                <a:cxn ang="0">
                  <a:pos x="8" y="234"/>
                </a:cxn>
                <a:cxn ang="0">
                  <a:pos x="51" y="188"/>
                </a:cxn>
                <a:cxn ang="0">
                  <a:pos x="77" y="206"/>
                </a:cxn>
                <a:cxn ang="0">
                  <a:pos x="149" y="205"/>
                </a:cxn>
                <a:cxn ang="0">
                  <a:pos x="138" y="167"/>
                </a:cxn>
                <a:cxn ang="0">
                  <a:pos x="142" y="151"/>
                </a:cxn>
                <a:cxn ang="0">
                  <a:pos x="314" y="53"/>
                </a:cxn>
                <a:cxn ang="0">
                  <a:pos x="323" y="56"/>
                </a:cxn>
                <a:cxn ang="0">
                  <a:pos x="339" y="50"/>
                </a:cxn>
                <a:cxn ang="0">
                  <a:pos x="338" y="33"/>
                </a:cxn>
                <a:cxn ang="0">
                  <a:pos x="350" y="4"/>
                </a:cxn>
                <a:cxn ang="0">
                  <a:pos x="358" y="0"/>
                </a:cxn>
                <a:cxn ang="0">
                  <a:pos x="437" y="82"/>
                </a:cxn>
                <a:cxn ang="0">
                  <a:pos x="442" y="116"/>
                </a:cxn>
                <a:cxn ang="0">
                  <a:pos x="403" y="144"/>
                </a:cxn>
                <a:cxn ang="0">
                  <a:pos x="405" y="183"/>
                </a:cxn>
                <a:cxn ang="0">
                  <a:pos x="422" y="191"/>
                </a:cxn>
                <a:cxn ang="0">
                  <a:pos x="438" y="224"/>
                </a:cxn>
                <a:cxn ang="0">
                  <a:pos x="363" y="299"/>
                </a:cxn>
                <a:cxn ang="0">
                  <a:pos x="391" y="333"/>
                </a:cxn>
                <a:cxn ang="0">
                  <a:pos x="409" y="335"/>
                </a:cxn>
                <a:cxn ang="0">
                  <a:pos x="441" y="320"/>
                </a:cxn>
                <a:cxn ang="0">
                  <a:pos x="484" y="328"/>
                </a:cxn>
                <a:cxn ang="0">
                  <a:pos x="501" y="400"/>
                </a:cxn>
                <a:cxn ang="0">
                  <a:pos x="494" y="440"/>
                </a:cxn>
                <a:cxn ang="0">
                  <a:pos x="505" y="463"/>
                </a:cxn>
                <a:cxn ang="0">
                  <a:pos x="508" y="496"/>
                </a:cxn>
                <a:cxn ang="0">
                  <a:pos x="523" y="529"/>
                </a:cxn>
                <a:cxn ang="0">
                  <a:pos x="515" y="562"/>
                </a:cxn>
                <a:cxn ang="0">
                  <a:pos x="521" y="573"/>
                </a:cxn>
                <a:cxn ang="0">
                  <a:pos x="505" y="590"/>
                </a:cxn>
                <a:cxn ang="0">
                  <a:pos x="477" y="678"/>
                </a:cxn>
                <a:cxn ang="0">
                  <a:pos x="424" y="664"/>
                </a:cxn>
                <a:cxn ang="0">
                  <a:pos x="418" y="654"/>
                </a:cxn>
                <a:cxn ang="0">
                  <a:pos x="407" y="648"/>
                </a:cxn>
                <a:cxn ang="0">
                  <a:pos x="390" y="655"/>
                </a:cxn>
                <a:cxn ang="0">
                  <a:pos x="305" y="627"/>
                </a:cxn>
                <a:cxn ang="0">
                  <a:pos x="301" y="611"/>
                </a:cxn>
                <a:cxn ang="0">
                  <a:pos x="276" y="611"/>
                </a:cxn>
                <a:cxn ang="0">
                  <a:pos x="274" y="575"/>
                </a:cxn>
                <a:cxn ang="0">
                  <a:pos x="284" y="570"/>
                </a:cxn>
                <a:cxn ang="0">
                  <a:pos x="283" y="546"/>
                </a:cxn>
                <a:cxn ang="0">
                  <a:pos x="253" y="528"/>
                </a:cxn>
                <a:cxn ang="0">
                  <a:pos x="253" y="521"/>
                </a:cxn>
                <a:cxn ang="0">
                  <a:pos x="263" y="510"/>
                </a:cxn>
                <a:cxn ang="0">
                  <a:pos x="256" y="478"/>
                </a:cxn>
                <a:cxn ang="0">
                  <a:pos x="202" y="455"/>
                </a:cxn>
                <a:cxn ang="0">
                  <a:pos x="183" y="455"/>
                </a:cxn>
                <a:cxn ang="0">
                  <a:pos x="108" y="492"/>
                </a:cxn>
                <a:cxn ang="0">
                  <a:pos x="49" y="486"/>
                </a:cxn>
              </a:cxnLst>
              <a:rect l="0" t="0" r="r" b="b"/>
              <a:pathLst>
                <a:path w="523" h="678">
                  <a:moveTo>
                    <a:pt x="49" y="486"/>
                  </a:moveTo>
                  <a:lnTo>
                    <a:pt x="48" y="478"/>
                  </a:lnTo>
                  <a:lnTo>
                    <a:pt x="78" y="433"/>
                  </a:lnTo>
                  <a:lnTo>
                    <a:pt x="88" y="388"/>
                  </a:lnTo>
                  <a:lnTo>
                    <a:pt x="22" y="352"/>
                  </a:lnTo>
                  <a:lnTo>
                    <a:pt x="0" y="315"/>
                  </a:lnTo>
                  <a:lnTo>
                    <a:pt x="8" y="234"/>
                  </a:lnTo>
                  <a:lnTo>
                    <a:pt x="51" y="188"/>
                  </a:lnTo>
                  <a:lnTo>
                    <a:pt x="77" y="206"/>
                  </a:lnTo>
                  <a:lnTo>
                    <a:pt x="149" y="205"/>
                  </a:lnTo>
                  <a:lnTo>
                    <a:pt x="138" y="167"/>
                  </a:lnTo>
                  <a:lnTo>
                    <a:pt x="142" y="151"/>
                  </a:lnTo>
                  <a:lnTo>
                    <a:pt x="314" y="53"/>
                  </a:lnTo>
                  <a:lnTo>
                    <a:pt x="323" y="56"/>
                  </a:lnTo>
                  <a:lnTo>
                    <a:pt x="339" y="50"/>
                  </a:lnTo>
                  <a:lnTo>
                    <a:pt x="338" y="33"/>
                  </a:lnTo>
                  <a:lnTo>
                    <a:pt x="350" y="4"/>
                  </a:lnTo>
                  <a:lnTo>
                    <a:pt x="358" y="0"/>
                  </a:lnTo>
                  <a:lnTo>
                    <a:pt x="437" y="82"/>
                  </a:lnTo>
                  <a:lnTo>
                    <a:pt x="442" y="116"/>
                  </a:lnTo>
                  <a:lnTo>
                    <a:pt x="403" y="144"/>
                  </a:lnTo>
                  <a:lnTo>
                    <a:pt x="405" y="183"/>
                  </a:lnTo>
                  <a:lnTo>
                    <a:pt x="422" y="191"/>
                  </a:lnTo>
                  <a:lnTo>
                    <a:pt x="438" y="224"/>
                  </a:lnTo>
                  <a:lnTo>
                    <a:pt x="363" y="299"/>
                  </a:lnTo>
                  <a:lnTo>
                    <a:pt x="391" y="333"/>
                  </a:lnTo>
                  <a:lnTo>
                    <a:pt x="409" y="335"/>
                  </a:lnTo>
                  <a:lnTo>
                    <a:pt x="441" y="320"/>
                  </a:lnTo>
                  <a:lnTo>
                    <a:pt x="484" y="328"/>
                  </a:lnTo>
                  <a:lnTo>
                    <a:pt x="501" y="400"/>
                  </a:lnTo>
                  <a:lnTo>
                    <a:pt x="494" y="440"/>
                  </a:lnTo>
                  <a:lnTo>
                    <a:pt x="505" y="463"/>
                  </a:lnTo>
                  <a:lnTo>
                    <a:pt x="508" y="496"/>
                  </a:lnTo>
                  <a:lnTo>
                    <a:pt x="523" y="529"/>
                  </a:lnTo>
                  <a:lnTo>
                    <a:pt x="515" y="562"/>
                  </a:lnTo>
                  <a:lnTo>
                    <a:pt x="521" y="573"/>
                  </a:lnTo>
                  <a:lnTo>
                    <a:pt x="505" y="590"/>
                  </a:lnTo>
                  <a:lnTo>
                    <a:pt x="477" y="678"/>
                  </a:lnTo>
                  <a:lnTo>
                    <a:pt x="424" y="664"/>
                  </a:lnTo>
                  <a:lnTo>
                    <a:pt x="418" y="654"/>
                  </a:lnTo>
                  <a:lnTo>
                    <a:pt x="407" y="648"/>
                  </a:lnTo>
                  <a:lnTo>
                    <a:pt x="390" y="655"/>
                  </a:lnTo>
                  <a:lnTo>
                    <a:pt x="305" y="627"/>
                  </a:lnTo>
                  <a:lnTo>
                    <a:pt x="301" y="611"/>
                  </a:lnTo>
                  <a:lnTo>
                    <a:pt x="276" y="611"/>
                  </a:lnTo>
                  <a:lnTo>
                    <a:pt x="274" y="575"/>
                  </a:lnTo>
                  <a:lnTo>
                    <a:pt x="284" y="570"/>
                  </a:lnTo>
                  <a:lnTo>
                    <a:pt x="283" y="546"/>
                  </a:lnTo>
                  <a:lnTo>
                    <a:pt x="253" y="528"/>
                  </a:lnTo>
                  <a:lnTo>
                    <a:pt x="253" y="521"/>
                  </a:lnTo>
                  <a:lnTo>
                    <a:pt x="263" y="510"/>
                  </a:lnTo>
                  <a:lnTo>
                    <a:pt x="256" y="478"/>
                  </a:lnTo>
                  <a:lnTo>
                    <a:pt x="202" y="455"/>
                  </a:lnTo>
                  <a:lnTo>
                    <a:pt x="183" y="455"/>
                  </a:lnTo>
                  <a:lnTo>
                    <a:pt x="108" y="492"/>
                  </a:lnTo>
                  <a:lnTo>
                    <a:pt x="49" y="486"/>
                  </a:lnTo>
                  <a:close/>
                </a:path>
              </a:pathLst>
            </a:custGeom>
            <a:grpFill/>
            <a:ln w="12700">
              <a:noFill/>
              <a:round/>
              <a:headEnd/>
              <a:tailEnd/>
            </a:ln>
          </p:spPr>
          <p:txBody>
            <a:bodyPr/>
            <a:lstStyle/>
            <a:p>
              <a:endParaRPr lang="de-DE"/>
            </a:p>
          </p:txBody>
        </p:sp>
        <p:sp>
          <p:nvSpPr>
            <p:cNvPr id="76" name="Freeform 18">
              <a:extLst>
                <a:ext uri="{FF2B5EF4-FFF2-40B4-BE49-F238E27FC236}">
                  <a16:creationId xmlns:a16="http://schemas.microsoft.com/office/drawing/2014/main" id="{047CDD64-7005-6A4A-0CA8-4AFFBA3F68B5}"/>
                </a:ext>
              </a:extLst>
            </p:cNvPr>
            <p:cNvSpPr>
              <a:spLocks/>
            </p:cNvSpPr>
            <p:nvPr/>
          </p:nvSpPr>
          <p:spPr bwMode="gray">
            <a:xfrm>
              <a:off x="1969" y="3144"/>
              <a:ext cx="235" cy="180"/>
            </a:xfrm>
            <a:custGeom>
              <a:avLst/>
              <a:gdLst/>
              <a:ahLst/>
              <a:cxnLst>
                <a:cxn ang="0">
                  <a:pos x="225" y="120"/>
                </a:cxn>
                <a:cxn ang="0">
                  <a:pos x="235" y="115"/>
                </a:cxn>
                <a:cxn ang="0">
                  <a:pos x="234" y="91"/>
                </a:cxn>
                <a:cxn ang="0">
                  <a:pos x="204" y="73"/>
                </a:cxn>
                <a:cxn ang="0">
                  <a:pos x="204" y="66"/>
                </a:cxn>
                <a:cxn ang="0">
                  <a:pos x="214" y="55"/>
                </a:cxn>
                <a:cxn ang="0">
                  <a:pos x="207" y="23"/>
                </a:cxn>
                <a:cxn ang="0">
                  <a:pos x="153" y="0"/>
                </a:cxn>
                <a:cxn ang="0">
                  <a:pos x="134" y="0"/>
                </a:cxn>
                <a:cxn ang="0">
                  <a:pos x="59" y="37"/>
                </a:cxn>
                <a:cxn ang="0">
                  <a:pos x="0" y="31"/>
                </a:cxn>
                <a:cxn ang="0">
                  <a:pos x="2" y="56"/>
                </a:cxn>
                <a:cxn ang="0">
                  <a:pos x="43" y="83"/>
                </a:cxn>
                <a:cxn ang="0">
                  <a:pos x="45" y="97"/>
                </a:cxn>
                <a:cxn ang="0">
                  <a:pos x="70" y="146"/>
                </a:cxn>
                <a:cxn ang="0">
                  <a:pos x="107" y="159"/>
                </a:cxn>
                <a:cxn ang="0">
                  <a:pos x="118" y="146"/>
                </a:cxn>
                <a:cxn ang="0">
                  <a:pos x="141" y="145"/>
                </a:cxn>
                <a:cxn ang="0">
                  <a:pos x="147" y="152"/>
                </a:cxn>
                <a:cxn ang="0">
                  <a:pos x="152" y="170"/>
                </a:cxn>
                <a:cxn ang="0">
                  <a:pos x="197" y="180"/>
                </a:cxn>
                <a:cxn ang="0">
                  <a:pos x="214" y="177"/>
                </a:cxn>
                <a:cxn ang="0">
                  <a:pos x="227" y="156"/>
                </a:cxn>
                <a:cxn ang="0">
                  <a:pos x="225" y="120"/>
                </a:cxn>
              </a:cxnLst>
              <a:rect l="0" t="0" r="r" b="b"/>
              <a:pathLst>
                <a:path w="235" h="180">
                  <a:moveTo>
                    <a:pt x="225" y="120"/>
                  </a:moveTo>
                  <a:lnTo>
                    <a:pt x="235" y="115"/>
                  </a:lnTo>
                  <a:lnTo>
                    <a:pt x="234" y="91"/>
                  </a:lnTo>
                  <a:lnTo>
                    <a:pt x="204" y="73"/>
                  </a:lnTo>
                  <a:lnTo>
                    <a:pt x="204" y="66"/>
                  </a:lnTo>
                  <a:lnTo>
                    <a:pt x="214" y="55"/>
                  </a:lnTo>
                  <a:lnTo>
                    <a:pt x="207" y="23"/>
                  </a:lnTo>
                  <a:lnTo>
                    <a:pt x="153" y="0"/>
                  </a:lnTo>
                  <a:lnTo>
                    <a:pt x="134" y="0"/>
                  </a:lnTo>
                  <a:lnTo>
                    <a:pt x="59" y="37"/>
                  </a:lnTo>
                  <a:lnTo>
                    <a:pt x="0" y="31"/>
                  </a:lnTo>
                  <a:lnTo>
                    <a:pt x="2" y="56"/>
                  </a:lnTo>
                  <a:lnTo>
                    <a:pt x="43" y="83"/>
                  </a:lnTo>
                  <a:lnTo>
                    <a:pt x="45" y="97"/>
                  </a:lnTo>
                  <a:lnTo>
                    <a:pt x="70" y="146"/>
                  </a:lnTo>
                  <a:lnTo>
                    <a:pt x="107" y="159"/>
                  </a:lnTo>
                  <a:lnTo>
                    <a:pt x="118" y="146"/>
                  </a:lnTo>
                  <a:lnTo>
                    <a:pt x="141" y="145"/>
                  </a:lnTo>
                  <a:lnTo>
                    <a:pt x="147" y="152"/>
                  </a:lnTo>
                  <a:lnTo>
                    <a:pt x="152" y="170"/>
                  </a:lnTo>
                  <a:lnTo>
                    <a:pt x="197" y="180"/>
                  </a:lnTo>
                  <a:lnTo>
                    <a:pt x="214" y="177"/>
                  </a:lnTo>
                  <a:lnTo>
                    <a:pt x="227" y="156"/>
                  </a:lnTo>
                  <a:lnTo>
                    <a:pt x="225" y="120"/>
                  </a:lnTo>
                  <a:close/>
                </a:path>
              </a:pathLst>
            </a:custGeom>
            <a:grpFill/>
            <a:ln w="12700">
              <a:noFill/>
              <a:round/>
              <a:headEnd/>
              <a:tailEnd/>
            </a:ln>
          </p:spPr>
          <p:txBody>
            <a:bodyPr/>
            <a:lstStyle/>
            <a:p>
              <a:endParaRPr lang="de-DE"/>
            </a:p>
          </p:txBody>
        </p:sp>
        <p:sp>
          <p:nvSpPr>
            <p:cNvPr id="77" name="Freeform 19">
              <a:extLst>
                <a:ext uri="{FF2B5EF4-FFF2-40B4-BE49-F238E27FC236}">
                  <a16:creationId xmlns:a16="http://schemas.microsoft.com/office/drawing/2014/main" id="{EF99F192-0CBB-21E7-DF6F-6EF2175D1B15}"/>
                </a:ext>
              </a:extLst>
            </p:cNvPr>
            <p:cNvSpPr>
              <a:spLocks/>
            </p:cNvSpPr>
            <p:nvPr/>
          </p:nvSpPr>
          <p:spPr bwMode="gray">
            <a:xfrm>
              <a:off x="2242" y="3073"/>
              <a:ext cx="670" cy="793"/>
            </a:xfrm>
            <a:custGeom>
              <a:avLst/>
              <a:gdLst/>
              <a:ahLst/>
              <a:cxnLst>
                <a:cxn ang="0">
                  <a:pos x="670" y="383"/>
                </a:cxn>
                <a:cxn ang="0">
                  <a:pos x="618" y="399"/>
                </a:cxn>
                <a:cxn ang="0">
                  <a:pos x="630" y="428"/>
                </a:cxn>
                <a:cxn ang="0">
                  <a:pos x="561" y="507"/>
                </a:cxn>
                <a:cxn ang="0">
                  <a:pos x="593" y="592"/>
                </a:cxn>
                <a:cxn ang="0">
                  <a:pos x="582" y="627"/>
                </a:cxn>
                <a:cxn ang="0">
                  <a:pos x="609" y="738"/>
                </a:cxn>
                <a:cxn ang="0">
                  <a:pos x="602" y="747"/>
                </a:cxn>
                <a:cxn ang="0">
                  <a:pos x="495" y="762"/>
                </a:cxn>
                <a:cxn ang="0">
                  <a:pos x="477" y="784"/>
                </a:cxn>
                <a:cxn ang="0">
                  <a:pos x="386" y="747"/>
                </a:cxn>
                <a:cxn ang="0">
                  <a:pos x="336" y="740"/>
                </a:cxn>
                <a:cxn ang="0">
                  <a:pos x="307" y="754"/>
                </a:cxn>
                <a:cxn ang="0">
                  <a:pos x="274" y="743"/>
                </a:cxn>
                <a:cxn ang="0">
                  <a:pos x="261" y="710"/>
                </a:cxn>
                <a:cxn ang="0">
                  <a:pos x="241" y="705"/>
                </a:cxn>
                <a:cxn ang="0">
                  <a:pos x="199" y="711"/>
                </a:cxn>
                <a:cxn ang="0">
                  <a:pos x="186" y="735"/>
                </a:cxn>
                <a:cxn ang="0">
                  <a:pos x="199" y="754"/>
                </a:cxn>
                <a:cxn ang="0">
                  <a:pos x="226" y="743"/>
                </a:cxn>
                <a:cxn ang="0">
                  <a:pos x="241" y="741"/>
                </a:cxn>
                <a:cxn ang="0">
                  <a:pos x="249" y="768"/>
                </a:cxn>
                <a:cxn ang="0">
                  <a:pos x="240" y="778"/>
                </a:cxn>
                <a:cxn ang="0">
                  <a:pos x="183" y="792"/>
                </a:cxn>
                <a:cxn ang="0">
                  <a:pos x="124" y="782"/>
                </a:cxn>
                <a:cxn ang="0">
                  <a:pos x="37" y="793"/>
                </a:cxn>
                <a:cxn ang="0">
                  <a:pos x="12" y="790"/>
                </a:cxn>
                <a:cxn ang="0">
                  <a:pos x="0" y="770"/>
                </a:cxn>
                <a:cxn ang="0">
                  <a:pos x="2" y="683"/>
                </a:cxn>
                <a:cxn ang="0">
                  <a:pos x="12" y="676"/>
                </a:cxn>
                <a:cxn ang="0">
                  <a:pos x="15" y="654"/>
                </a:cxn>
                <a:cxn ang="0">
                  <a:pos x="9" y="612"/>
                </a:cxn>
                <a:cxn ang="0">
                  <a:pos x="91" y="384"/>
                </a:cxn>
                <a:cxn ang="0">
                  <a:pos x="114" y="367"/>
                </a:cxn>
                <a:cxn ang="0">
                  <a:pos x="120" y="343"/>
                </a:cxn>
                <a:cxn ang="0">
                  <a:pos x="155" y="294"/>
                </a:cxn>
                <a:cxn ang="0">
                  <a:pos x="183" y="206"/>
                </a:cxn>
                <a:cxn ang="0">
                  <a:pos x="199" y="189"/>
                </a:cxn>
                <a:cxn ang="0">
                  <a:pos x="193" y="178"/>
                </a:cxn>
                <a:cxn ang="0">
                  <a:pos x="201" y="145"/>
                </a:cxn>
                <a:cxn ang="0">
                  <a:pos x="186" y="112"/>
                </a:cxn>
                <a:cxn ang="0">
                  <a:pos x="182" y="79"/>
                </a:cxn>
                <a:cxn ang="0">
                  <a:pos x="255" y="65"/>
                </a:cxn>
                <a:cxn ang="0">
                  <a:pos x="262" y="103"/>
                </a:cxn>
                <a:cxn ang="0">
                  <a:pos x="326" y="102"/>
                </a:cxn>
                <a:cxn ang="0">
                  <a:pos x="340" y="81"/>
                </a:cxn>
                <a:cxn ang="0">
                  <a:pos x="358" y="81"/>
                </a:cxn>
                <a:cxn ang="0">
                  <a:pos x="407" y="46"/>
                </a:cxn>
                <a:cxn ang="0">
                  <a:pos x="389" y="13"/>
                </a:cxn>
                <a:cxn ang="0">
                  <a:pos x="456" y="0"/>
                </a:cxn>
                <a:cxn ang="0">
                  <a:pos x="520" y="76"/>
                </a:cxn>
                <a:cxn ang="0">
                  <a:pos x="521" y="99"/>
                </a:cxn>
                <a:cxn ang="0">
                  <a:pos x="538" y="104"/>
                </a:cxn>
                <a:cxn ang="0">
                  <a:pos x="558" y="86"/>
                </a:cxn>
                <a:cxn ang="0">
                  <a:pos x="571" y="108"/>
                </a:cxn>
                <a:cxn ang="0">
                  <a:pos x="613" y="261"/>
                </a:cxn>
                <a:cxn ang="0">
                  <a:pos x="651" y="292"/>
                </a:cxn>
                <a:cxn ang="0">
                  <a:pos x="670" y="383"/>
                </a:cxn>
              </a:cxnLst>
              <a:rect l="0" t="0" r="r" b="b"/>
              <a:pathLst>
                <a:path w="670" h="793">
                  <a:moveTo>
                    <a:pt x="670" y="383"/>
                  </a:moveTo>
                  <a:lnTo>
                    <a:pt x="618" y="399"/>
                  </a:lnTo>
                  <a:lnTo>
                    <a:pt x="630" y="428"/>
                  </a:lnTo>
                  <a:lnTo>
                    <a:pt x="561" y="507"/>
                  </a:lnTo>
                  <a:lnTo>
                    <a:pt x="593" y="592"/>
                  </a:lnTo>
                  <a:lnTo>
                    <a:pt x="582" y="627"/>
                  </a:lnTo>
                  <a:lnTo>
                    <a:pt x="609" y="738"/>
                  </a:lnTo>
                  <a:lnTo>
                    <a:pt x="602" y="747"/>
                  </a:lnTo>
                  <a:lnTo>
                    <a:pt x="495" y="762"/>
                  </a:lnTo>
                  <a:lnTo>
                    <a:pt x="477" y="784"/>
                  </a:lnTo>
                  <a:lnTo>
                    <a:pt x="386" y="747"/>
                  </a:lnTo>
                  <a:lnTo>
                    <a:pt x="336" y="740"/>
                  </a:lnTo>
                  <a:lnTo>
                    <a:pt x="307" y="754"/>
                  </a:lnTo>
                  <a:lnTo>
                    <a:pt x="274" y="743"/>
                  </a:lnTo>
                  <a:lnTo>
                    <a:pt x="261" y="710"/>
                  </a:lnTo>
                  <a:lnTo>
                    <a:pt x="241" y="705"/>
                  </a:lnTo>
                  <a:lnTo>
                    <a:pt x="199" y="711"/>
                  </a:lnTo>
                  <a:lnTo>
                    <a:pt x="186" y="735"/>
                  </a:lnTo>
                  <a:lnTo>
                    <a:pt x="199" y="754"/>
                  </a:lnTo>
                  <a:lnTo>
                    <a:pt x="226" y="743"/>
                  </a:lnTo>
                  <a:lnTo>
                    <a:pt x="241" y="741"/>
                  </a:lnTo>
                  <a:lnTo>
                    <a:pt x="249" y="768"/>
                  </a:lnTo>
                  <a:lnTo>
                    <a:pt x="240" y="778"/>
                  </a:lnTo>
                  <a:lnTo>
                    <a:pt x="183" y="792"/>
                  </a:lnTo>
                  <a:lnTo>
                    <a:pt x="124" y="782"/>
                  </a:lnTo>
                  <a:lnTo>
                    <a:pt x="37" y="793"/>
                  </a:lnTo>
                  <a:lnTo>
                    <a:pt x="12" y="790"/>
                  </a:lnTo>
                  <a:lnTo>
                    <a:pt x="0" y="770"/>
                  </a:lnTo>
                  <a:lnTo>
                    <a:pt x="2" y="683"/>
                  </a:lnTo>
                  <a:lnTo>
                    <a:pt x="12" y="676"/>
                  </a:lnTo>
                  <a:lnTo>
                    <a:pt x="15" y="654"/>
                  </a:lnTo>
                  <a:lnTo>
                    <a:pt x="9" y="612"/>
                  </a:lnTo>
                  <a:lnTo>
                    <a:pt x="91" y="384"/>
                  </a:lnTo>
                  <a:lnTo>
                    <a:pt x="114" y="367"/>
                  </a:lnTo>
                  <a:lnTo>
                    <a:pt x="120" y="343"/>
                  </a:lnTo>
                  <a:lnTo>
                    <a:pt x="155" y="294"/>
                  </a:lnTo>
                  <a:lnTo>
                    <a:pt x="183" y="206"/>
                  </a:lnTo>
                  <a:lnTo>
                    <a:pt x="199" y="189"/>
                  </a:lnTo>
                  <a:lnTo>
                    <a:pt x="193" y="178"/>
                  </a:lnTo>
                  <a:lnTo>
                    <a:pt x="201" y="145"/>
                  </a:lnTo>
                  <a:lnTo>
                    <a:pt x="186" y="112"/>
                  </a:lnTo>
                  <a:lnTo>
                    <a:pt x="182" y="79"/>
                  </a:lnTo>
                  <a:lnTo>
                    <a:pt x="255" y="65"/>
                  </a:lnTo>
                  <a:lnTo>
                    <a:pt x="262" y="103"/>
                  </a:lnTo>
                  <a:lnTo>
                    <a:pt x="326" y="102"/>
                  </a:lnTo>
                  <a:lnTo>
                    <a:pt x="340" y="81"/>
                  </a:lnTo>
                  <a:lnTo>
                    <a:pt x="358" y="81"/>
                  </a:lnTo>
                  <a:lnTo>
                    <a:pt x="407" y="46"/>
                  </a:lnTo>
                  <a:lnTo>
                    <a:pt x="389" y="13"/>
                  </a:lnTo>
                  <a:lnTo>
                    <a:pt x="456" y="0"/>
                  </a:lnTo>
                  <a:lnTo>
                    <a:pt x="520" y="76"/>
                  </a:lnTo>
                  <a:lnTo>
                    <a:pt x="521" y="99"/>
                  </a:lnTo>
                  <a:lnTo>
                    <a:pt x="538" y="104"/>
                  </a:lnTo>
                  <a:lnTo>
                    <a:pt x="558" y="86"/>
                  </a:lnTo>
                  <a:lnTo>
                    <a:pt x="571" y="108"/>
                  </a:lnTo>
                  <a:lnTo>
                    <a:pt x="613" y="261"/>
                  </a:lnTo>
                  <a:lnTo>
                    <a:pt x="651" y="292"/>
                  </a:lnTo>
                  <a:lnTo>
                    <a:pt x="670" y="383"/>
                  </a:lnTo>
                  <a:close/>
                </a:path>
              </a:pathLst>
            </a:custGeom>
            <a:grpFill/>
            <a:ln w="12700">
              <a:noFill/>
              <a:round/>
              <a:headEnd/>
              <a:tailEnd/>
            </a:ln>
          </p:spPr>
          <p:txBody>
            <a:bodyPr/>
            <a:lstStyle/>
            <a:p>
              <a:endParaRPr lang="de-DE"/>
            </a:p>
          </p:txBody>
        </p:sp>
        <p:sp>
          <p:nvSpPr>
            <p:cNvPr id="78" name="Freeform 20">
              <a:extLst>
                <a:ext uri="{FF2B5EF4-FFF2-40B4-BE49-F238E27FC236}">
                  <a16:creationId xmlns:a16="http://schemas.microsoft.com/office/drawing/2014/main" id="{040A46D7-CA9F-1704-87CD-59D6C3485F73}"/>
                </a:ext>
              </a:extLst>
            </p:cNvPr>
            <p:cNvSpPr>
              <a:spLocks/>
            </p:cNvSpPr>
            <p:nvPr/>
          </p:nvSpPr>
          <p:spPr bwMode="gray">
            <a:xfrm>
              <a:off x="2548" y="2795"/>
              <a:ext cx="1119" cy="1141"/>
            </a:xfrm>
            <a:custGeom>
              <a:avLst/>
              <a:gdLst/>
              <a:ahLst/>
              <a:cxnLst>
                <a:cxn ang="0">
                  <a:pos x="265" y="386"/>
                </a:cxn>
                <a:cxn ang="0">
                  <a:pos x="232" y="382"/>
                </a:cxn>
                <a:cxn ang="0">
                  <a:pos x="214" y="354"/>
                </a:cxn>
                <a:cxn ang="0">
                  <a:pos x="83" y="291"/>
                </a:cxn>
                <a:cxn ang="0">
                  <a:pos x="52" y="359"/>
                </a:cxn>
                <a:cxn ang="0">
                  <a:pos x="37" y="308"/>
                </a:cxn>
                <a:cxn ang="0">
                  <a:pos x="87" y="162"/>
                </a:cxn>
                <a:cxn ang="0">
                  <a:pos x="119" y="170"/>
                </a:cxn>
                <a:cxn ang="0">
                  <a:pos x="148" y="126"/>
                </a:cxn>
                <a:cxn ang="0">
                  <a:pos x="170" y="57"/>
                </a:cxn>
                <a:cxn ang="0">
                  <a:pos x="248" y="6"/>
                </a:cxn>
                <a:cxn ang="0">
                  <a:pos x="361" y="106"/>
                </a:cxn>
                <a:cxn ang="0">
                  <a:pos x="412" y="98"/>
                </a:cxn>
                <a:cxn ang="0">
                  <a:pos x="384" y="70"/>
                </a:cxn>
                <a:cxn ang="0">
                  <a:pos x="481" y="94"/>
                </a:cxn>
                <a:cxn ang="0">
                  <a:pos x="505" y="62"/>
                </a:cxn>
                <a:cxn ang="0">
                  <a:pos x="525" y="0"/>
                </a:cxn>
                <a:cxn ang="0">
                  <a:pos x="642" y="27"/>
                </a:cxn>
                <a:cxn ang="0">
                  <a:pos x="715" y="139"/>
                </a:cxn>
                <a:cxn ang="0">
                  <a:pos x="781" y="250"/>
                </a:cxn>
                <a:cxn ang="0">
                  <a:pos x="865" y="393"/>
                </a:cxn>
                <a:cxn ang="0">
                  <a:pos x="1008" y="483"/>
                </a:cxn>
                <a:cxn ang="0">
                  <a:pos x="1034" y="521"/>
                </a:cxn>
                <a:cxn ang="0">
                  <a:pos x="1119" y="576"/>
                </a:cxn>
                <a:cxn ang="0">
                  <a:pos x="1090" y="668"/>
                </a:cxn>
                <a:cxn ang="0">
                  <a:pos x="1032" y="726"/>
                </a:cxn>
                <a:cxn ang="0">
                  <a:pos x="900" y="832"/>
                </a:cxn>
                <a:cxn ang="0">
                  <a:pos x="935" y="955"/>
                </a:cxn>
                <a:cxn ang="0">
                  <a:pos x="980" y="999"/>
                </a:cxn>
                <a:cxn ang="0">
                  <a:pos x="908" y="1000"/>
                </a:cxn>
                <a:cxn ang="0">
                  <a:pos x="891" y="975"/>
                </a:cxn>
                <a:cxn ang="0">
                  <a:pos x="838" y="997"/>
                </a:cxn>
                <a:cxn ang="0">
                  <a:pos x="763" y="978"/>
                </a:cxn>
                <a:cxn ang="0">
                  <a:pos x="748" y="1015"/>
                </a:cxn>
                <a:cxn ang="0">
                  <a:pos x="625" y="1057"/>
                </a:cxn>
                <a:cxn ang="0">
                  <a:pos x="459" y="1061"/>
                </a:cxn>
                <a:cxn ang="0">
                  <a:pos x="376" y="1082"/>
                </a:cxn>
                <a:cxn ang="0">
                  <a:pos x="308" y="1133"/>
                </a:cxn>
                <a:cxn ang="0">
                  <a:pos x="171" y="1062"/>
                </a:cxn>
                <a:cxn ang="0">
                  <a:pos x="296" y="1025"/>
                </a:cxn>
                <a:cxn ang="0">
                  <a:pos x="276" y="905"/>
                </a:cxn>
                <a:cxn ang="0">
                  <a:pos x="255" y="785"/>
                </a:cxn>
                <a:cxn ang="0">
                  <a:pos x="312" y="677"/>
                </a:cxn>
                <a:cxn ang="0">
                  <a:pos x="345" y="570"/>
                </a:cxn>
              </a:cxnLst>
              <a:rect l="0" t="0" r="r" b="b"/>
              <a:pathLst>
                <a:path w="1119" h="1141">
                  <a:moveTo>
                    <a:pt x="307" y="539"/>
                  </a:moveTo>
                  <a:lnTo>
                    <a:pt x="265" y="386"/>
                  </a:lnTo>
                  <a:lnTo>
                    <a:pt x="252" y="364"/>
                  </a:lnTo>
                  <a:lnTo>
                    <a:pt x="232" y="382"/>
                  </a:lnTo>
                  <a:lnTo>
                    <a:pt x="215" y="377"/>
                  </a:lnTo>
                  <a:lnTo>
                    <a:pt x="214" y="354"/>
                  </a:lnTo>
                  <a:lnTo>
                    <a:pt x="150" y="278"/>
                  </a:lnTo>
                  <a:lnTo>
                    <a:pt x="83" y="291"/>
                  </a:lnTo>
                  <a:lnTo>
                    <a:pt x="101" y="324"/>
                  </a:lnTo>
                  <a:lnTo>
                    <a:pt x="52" y="359"/>
                  </a:lnTo>
                  <a:lnTo>
                    <a:pt x="34" y="359"/>
                  </a:lnTo>
                  <a:lnTo>
                    <a:pt x="37" y="308"/>
                  </a:lnTo>
                  <a:lnTo>
                    <a:pt x="0" y="179"/>
                  </a:lnTo>
                  <a:lnTo>
                    <a:pt x="87" y="162"/>
                  </a:lnTo>
                  <a:lnTo>
                    <a:pt x="96" y="174"/>
                  </a:lnTo>
                  <a:lnTo>
                    <a:pt x="119" y="170"/>
                  </a:lnTo>
                  <a:lnTo>
                    <a:pt x="117" y="128"/>
                  </a:lnTo>
                  <a:lnTo>
                    <a:pt x="148" y="126"/>
                  </a:lnTo>
                  <a:lnTo>
                    <a:pt x="148" y="72"/>
                  </a:lnTo>
                  <a:lnTo>
                    <a:pt x="170" y="57"/>
                  </a:lnTo>
                  <a:lnTo>
                    <a:pt x="196" y="66"/>
                  </a:lnTo>
                  <a:lnTo>
                    <a:pt x="248" y="6"/>
                  </a:lnTo>
                  <a:lnTo>
                    <a:pt x="346" y="70"/>
                  </a:lnTo>
                  <a:lnTo>
                    <a:pt x="361" y="106"/>
                  </a:lnTo>
                  <a:lnTo>
                    <a:pt x="385" y="121"/>
                  </a:lnTo>
                  <a:lnTo>
                    <a:pt x="412" y="98"/>
                  </a:lnTo>
                  <a:lnTo>
                    <a:pt x="385" y="80"/>
                  </a:lnTo>
                  <a:lnTo>
                    <a:pt x="384" y="70"/>
                  </a:lnTo>
                  <a:lnTo>
                    <a:pt x="465" y="60"/>
                  </a:lnTo>
                  <a:lnTo>
                    <a:pt x="481" y="94"/>
                  </a:lnTo>
                  <a:lnTo>
                    <a:pt x="505" y="89"/>
                  </a:lnTo>
                  <a:lnTo>
                    <a:pt x="505" y="62"/>
                  </a:lnTo>
                  <a:lnTo>
                    <a:pt x="493" y="33"/>
                  </a:lnTo>
                  <a:lnTo>
                    <a:pt x="525" y="0"/>
                  </a:lnTo>
                  <a:lnTo>
                    <a:pt x="553" y="54"/>
                  </a:lnTo>
                  <a:lnTo>
                    <a:pt x="642" y="27"/>
                  </a:lnTo>
                  <a:lnTo>
                    <a:pt x="695" y="61"/>
                  </a:lnTo>
                  <a:lnTo>
                    <a:pt x="715" y="139"/>
                  </a:lnTo>
                  <a:lnTo>
                    <a:pt x="792" y="201"/>
                  </a:lnTo>
                  <a:lnTo>
                    <a:pt x="781" y="250"/>
                  </a:lnTo>
                  <a:lnTo>
                    <a:pt x="766" y="255"/>
                  </a:lnTo>
                  <a:lnTo>
                    <a:pt x="865" y="393"/>
                  </a:lnTo>
                  <a:lnTo>
                    <a:pt x="891" y="390"/>
                  </a:lnTo>
                  <a:lnTo>
                    <a:pt x="1008" y="483"/>
                  </a:lnTo>
                  <a:lnTo>
                    <a:pt x="1010" y="508"/>
                  </a:lnTo>
                  <a:lnTo>
                    <a:pt x="1034" y="521"/>
                  </a:lnTo>
                  <a:lnTo>
                    <a:pt x="1050" y="513"/>
                  </a:lnTo>
                  <a:lnTo>
                    <a:pt x="1119" y="576"/>
                  </a:lnTo>
                  <a:lnTo>
                    <a:pt x="1116" y="640"/>
                  </a:lnTo>
                  <a:lnTo>
                    <a:pt x="1090" y="668"/>
                  </a:lnTo>
                  <a:lnTo>
                    <a:pt x="1045" y="650"/>
                  </a:lnTo>
                  <a:lnTo>
                    <a:pt x="1032" y="726"/>
                  </a:lnTo>
                  <a:lnTo>
                    <a:pt x="903" y="815"/>
                  </a:lnTo>
                  <a:lnTo>
                    <a:pt x="900" y="832"/>
                  </a:lnTo>
                  <a:lnTo>
                    <a:pt x="958" y="900"/>
                  </a:lnTo>
                  <a:lnTo>
                    <a:pt x="935" y="955"/>
                  </a:lnTo>
                  <a:lnTo>
                    <a:pt x="964" y="953"/>
                  </a:lnTo>
                  <a:lnTo>
                    <a:pt x="980" y="999"/>
                  </a:lnTo>
                  <a:lnTo>
                    <a:pt x="960" y="1047"/>
                  </a:lnTo>
                  <a:lnTo>
                    <a:pt x="908" y="1000"/>
                  </a:lnTo>
                  <a:lnTo>
                    <a:pt x="914" y="989"/>
                  </a:lnTo>
                  <a:lnTo>
                    <a:pt x="891" y="975"/>
                  </a:lnTo>
                  <a:lnTo>
                    <a:pt x="857" y="994"/>
                  </a:lnTo>
                  <a:lnTo>
                    <a:pt x="838" y="997"/>
                  </a:lnTo>
                  <a:lnTo>
                    <a:pt x="825" y="980"/>
                  </a:lnTo>
                  <a:lnTo>
                    <a:pt x="763" y="978"/>
                  </a:lnTo>
                  <a:lnTo>
                    <a:pt x="772" y="1011"/>
                  </a:lnTo>
                  <a:lnTo>
                    <a:pt x="748" y="1015"/>
                  </a:lnTo>
                  <a:lnTo>
                    <a:pt x="641" y="1026"/>
                  </a:lnTo>
                  <a:lnTo>
                    <a:pt x="625" y="1057"/>
                  </a:lnTo>
                  <a:lnTo>
                    <a:pt x="494" y="1098"/>
                  </a:lnTo>
                  <a:lnTo>
                    <a:pt x="459" y="1061"/>
                  </a:lnTo>
                  <a:lnTo>
                    <a:pt x="367" y="1043"/>
                  </a:lnTo>
                  <a:lnTo>
                    <a:pt x="376" y="1082"/>
                  </a:lnTo>
                  <a:lnTo>
                    <a:pt x="343" y="1141"/>
                  </a:lnTo>
                  <a:lnTo>
                    <a:pt x="308" y="1133"/>
                  </a:lnTo>
                  <a:lnTo>
                    <a:pt x="233" y="1062"/>
                  </a:lnTo>
                  <a:lnTo>
                    <a:pt x="171" y="1062"/>
                  </a:lnTo>
                  <a:lnTo>
                    <a:pt x="189" y="1040"/>
                  </a:lnTo>
                  <a:lnTo>
                    <a:pt x="296" y="1025"/>
                  </a:lnTo>
                  <a:lnTo>
                    <a:pt x="303" y="1016"/>
                  </a:lnTo>
                  <a:lnTo>
                    <a:pt x="276" y="905"/>
                  </a:lnTo>
                  <a:lnTo>
                    <a:pt x="287" y="870"/>
                  </a:lnTo>
                  <a:lnTo>
                    <a:pt x="255" y="785"/>
                  </a:lnTo>
                  <a:lnTo>
                    <a:pt x="324" y="706"/>
                  </a:lnTo>
                  <a:lnTo>
                    <a:pt x="312" y="677"/>
                  </a:lnTo>
                  <a:lnTo>
                    <a:pt x="364" y="661"/>
                  </a:lnTo>
                  <a:lnTo>
                    <a:pt x="345" y="570"/>
                  </a:lnTo>
                  <a:lnTo>
                    <a:pt x="307" y="539"/>
                  </a:lnTo>
                  <a:close/>
                </a:path>
              </a:pathLst>
            </a:custGeom>
            <a:grpFill/>
            <a:ln w="12700">
              <a:noFill/>
              <a:round/>
              <a:headEnd/>
              <a:tailEnd/>
            </a:ln>
          </p:spPr>
          <p:txBody>
            <a:bodyPr/>
            <a:lstStyle/>
            <a:p>
              <a:endParaRPr lang="de-DE"/>
            </a:p>
          </p:txBody>
        </p:sp>
        <p:sp>
          <p:nvSpPr>
            <p:cNvPr id="79" name="Freeform 21">
              <a:extLst>
                <a:ext uri="{FF2B5EF4-FFF2-40B4-BE49-F238E27FC236}">
                  <a16:creationId xmlns:a16="http://schemas.microsoft.com/office/drawing/2014/main" id="{EFA267D7-0D52-B74C-B623-0D5512B52AD8}"/>
                </a:ext>
              </a:extLst>
            </p:cNvPr>
            <p:cNvSpPr>
              <a:spLocks/>
            </p:cNvSpPr>
            <p:nvPr/>
          </p:nvSpPr>
          <p:spPr bwMode="gray">
            <a:xfrm>
              <a:off x="2741" y="2411"/>
              <a:ext cx="594" cy="505"/>
            </a:xfrm>
            <a:custGeom>
              <a:avLst/>
              <a:gdLst/>
              <a:ahLst/>
              <a:cxnLst>
                <a:cxn ang="0">
                  <a:pos x="512" y="174"/>
                </a:cxn>
                <a:cxn ang="0">
                  <a:pos x="516" y="208"/>
                </a:cxn>
                <a:cxn ang="0">
                  <a:pos x="508" y="226"/>
                </a:cxn>
                <a:cxn ang="0">
                  <a:pos x="452" y="216"/>
                </a:cxn>
                <a:cxn ang="0">
                  <a:pos x="446" y="202"/>
                </a:cxn>
                <a:cxn ang="0">
                  <a:pos x="335" y="178"/>
                </a:cxn>
                <a:cxn ang="0">
                  <a:pos x="314" y="136"/>
                </a:cxn>
                <a:cxn ang="0">
                  <a:pos x="333" y="114"/>
                </a:cxn>
                <a:cxn ang="0">
                  <a:pos x="314" y="89"/>
                </a:cxn>
                <a:cxn ang="0">
                  <a:pos x="222" y="66"/>
                </a:cxn>
                <a:cxn ang="0">
                  <a:pos x="209" y="13"/>
                </a:cxn>
                <a:cxn ang="0">
                  <a:pos x="163" y="0"/>
                </a:cxn>
                <a:cxn ang="0">
                  <a:pos x="136" y="34"/>
                </a:cxn>
                <a:cxn ang="0">
                  <a:pos x="96" y="29"/>
                </a:cxn>
                <a:cxn ang="0">
                  <a:pos x="1" y="109"/>
                </a:cxn>
                <a:cxn ang="0">
                  <a:pos x="69" y="170"/>
                </a:cxn>
                <a:cxn ang="0">
                  <a:pos x="60" y="238"/>
                </a:cxn>
                <a:cxn ang="0">
                  <a:pos x="14" y="292"/>
                </a:cxn>
                <a:cxn ang="0">
                  <a:pos x="0" y="346"/>
                </a:cxn>
                <a:cxn ang="0">
                  <a:pos x="45" y="360"/>
                </a:cxn>
                <a:cxn ang="0">
                  <a:pos x="55" y="391"/>
                </a:cxn>
                <a:cxn ang="0">
                  <a:pos x="153" y="454"/>
                </a:cxn>
                <a:cxn ang="0">
                  <a:pos x="168" y="490"/>
                </a:cxn>
                <a:cxn ang="0">
                  <a:pos x="192" y="505"/>
                </a:cxn>
                <a:cxn ang="0">
                  <a:pos x="219" y="482"/>
                </a:cxn>
                <a:cxn ang="0">
                  <a:pos x="192" y="464"/>
                </a:cxn>
                <a:cxn ang="0">
                  <a:pos x="191" y="454"/>
                </a:cxn>
                <a:cxn ang="0">
                  <a:pos x="272" y="444"/>
                </a:cxn>
                <a:cxn ang="0">
                  <a:pos x="288" y="478"/>
                </a:cxn>
                <a:cxn ang="0">
                  <a:pos x="312" y="473"/>
                </a:cxn>
                <a:cxn ang="0">
                  <a:pos x="312" y="446"/>
                </a:cxn>
                <a:cxn ang="0">
                  <a:pos x="300" y="417"/>
                </a:cxn>
                <a:cxn ang="0">
                  <a:pos x="332" y="384"/>
                </a:cxn>
                <a:cxn ang="0">
                  <a:pos x="360" y="438"/>
                </a:cxn>
                <a:cxn ang="0">
                  <a:pos x="449" y="411"/>
                </a:cxn>
                <a:cxn ang="0">
                  <a:pos x="458" y="366"/>
                </a:cxn>
                <a:cxn ang="0">
                  <a:pos x="468" y="358"/>
                </a:cxn>
                <a:cxn ang="0">
                  <a:pos x="500" y="358"/>
                </a:cxn>
                <a:cxn ang="0">
                  <a:pos x="528" y="315"/>
                </a:cxn>
                <a:cxn ang="0">
                  <a:pos x="512" y="274"/>
                </a:cxn>
                <a:cxn ang="0">
                  <a:pos x="594" y="224"/>
                </a:cxn>
                <a:cxn ang="0">
                  <a:pos x="588" y="205"/>
                </a:cxn>
                <a:cxn ang="0">
                  <a:pos x="512" y="174"/>
                </a:cxn>
              </a:cxnLst>
              <a:rect l="0" t="0" r="r" b="b"/>
              <a:pathLst>
                <a:path w="594" h="505">
                  <a:moveTo>
                    <a:pt x="512" y="174"/>
                  </a:moveTo>
                  <a:lnTo>
                    <a:pt x="516" y="208"/>
                  </a:lnTo>
                  <a:lnTo>
                    <a:pt x="508" y="226"/>
                  </a:lnTo>
                  <a:lnTo>
                    <a:pt x="452" y="216"/>
                  </a:lnTo>
                  <a:lnTo>
                    <a:pt x="446" y="202"/>
                  </a:lnTo>
                  <a:lnTo>
                    <a:pt x="335" y="178"/>
                  </a:lnTo>
                  <a:lnTo>
                    <a:pt x="314" y="136"/>
                  </a:lnTo>
                  <a:lnTo>
                    <a:pt x="333" y="114"/>
                  </a:lnTo>
                  <a:lnTo>
                    <a:pt x="314" y="89"/>
                  </a:lnTo>
                  <a:lnTo>
                    <a:pt x="222" y="66"/>
                  </a:lnTo>
                  <a:lnTo>
                    <a:pt x="209" y="13"/>
                  </a:lnTo>
                  <a:lnTo>
                    <a:pt x="163" y="0"/>
                  </a:lnTo>
                  <a:lnTo>
                    <a:pt x="136" y="34"/>
                  </a:lnTo>
                  <a:lnTo>
                    <a:pt x="96" y="29"/>
                  </a:lnTo>
                  <a:lnTo>
                    <a:pt x="1" y="109"/>
                  </a:lnTo>
                  <a:lnTo>
                    <a:pt x="69" y="170"/>
                  </a:lnTo>
                  <a:lnTo>
                    <a:pt x="60" y="238"/>
                  </a:lnTo>
                  <a:lnTo>
                    <a:pt x="14" y="292"/>
                  </a:lnTo>
                  <a:lnTo>
                    <a:pt x="0" y="346"/>
                  </a:lnTo>
                  <a:lnTo>
                    <a:pt x="45" y="360"/>
                  </a:lnTo>
                  <a:lnTo>
                    <a:pt x="55" y="391"/>
                  </a:lnTo>
                  <a:lnTo>
                    <a:pt x="153" y="454"/>
                  </a:lnTo>
                  <a:lnTo>
                    <a:pt x="168" y="490"/>
                  </a:lnTo>
                  <a:lnTo>
                    <a:pt x="192" y="505"/>
                  </a:lnTo>
                  <a:lnTo>
                    <a:pt x="219" y="482"/>
                  </a:lnTo>
                  <a:lnTo>
                    <a:pt x="192" y="464"/>
                  </a:lnTo>
                  <a:lnTo>
                    <a:pt x="191" y="454"/>
                  </a:lnTo>
                  <a:lnTo>
                    <a:pt x="272" y="444"/>
                  </a:lnTo>
                  <a:lnTo>
                    <a:pt x="288" y="478"/>
                  </a:lnTo>
                  <a:lnTo>
                    <a:pt x="312" y="473"/>
                  </a:lnTo>
                  <a:lnTo>
                    <a:pt x="312" y="446"/>
                  </a:lnTo>
                  <a:lnTo>
                    <a:pt x="300" y="417"/>
                  </a:lnTo>
                  <a:lnTo>
                    <a:pt x="332" y="384"/>
                  </a:lnTo>
                  <a:lnTo>
                    <a:pt x="360" y="438"/>
                  </a:lnTo>
                  <a:lnTo>
                    <a:pt x="449" y="411"/>
                  </a:lnTo>
                  <a:lnTo>
                    <a:pt x="458" y="366"/>
                  </a:lnTo>
                  <a:lnTo>
                    <a:pt x="468" y="358"/>
                  </a:lnTo>
                  <a:lnTo>
                    <a:pt x="500" y="358"/>
                  </a:lnTo>
                  <a:lnTo>
                    <a:pt x="528" y="315"/>
                  </a:lnTo>
                  <a:lnTo>
                    <a:pt x="512" y="274"/>
                  </a:lnTo>
                  <a:lnTo>
                    <a:pt x="594" y="224"/>
                  </a:lnTo>
                  <a:lnTo>
                    <a:pt x="588" y="205"/>
                  </a:lnTo>
                  <a:lnTo>
                    <a:pt x="512" y="174"/>
                  </a:lnTo>
                  <a:close/>
                </a:path>
              </a:pathLst>
            </a:custGeom>
            <a:grpFill/>
            <a:ln w="12700">
              <a:noFill/>
              <a:round/>
              <a:headEnd/>
              <a:tailEnd/>
            </a:ln>
          </p:spPr>
          <p:txBody>
            <a:bodyPr/>
            <a:lstStyle/>
            <a:p>
              <a:endParaRPr lang="de-DE"/>
            </a:p>
          </p:txBody>
        </p:sp>
        <p:sp>
          <p:nvSpPr>
            <p:cNvPr id="80" name="Freeform 22">
              <a:extLst>
                <a:ext uri="{FF2B5EF4-FFF2-40B4-BE49-F238E27FC236}">
                  <a16:creationId xmlns:a16="http://schemas.microsoft.com/office/drawing/2014/main" id="{AFBEE5FC-C050-C0D5-ABBA-7584D0D11910}"/>
                </a:ext>
              </a:extLst>
            </p:cNvPr>
            <p:cNvSpPr>
              <a:spLocks/>
            </p:cNvSpPr>
            <p:nvPr/>
          </p:nvSpPr>
          <p:spPr bwMode="gray">
            <a:xfrm>
              <a:off x="2417" y="1761"/>
              <a:ext cx="30" cy="43"/>
            </a:xfrm>
            <a:custGeom>
              <a:avLst/>
              <a:gdLst/>
              <a:ahLst/>
              <a:cxnLst>
                <a:cxn ang="0">
                  <a:pos x="25" y="43"/>
                </a:cxn>
                <a:cxn ang="0">
                  <a:pos x="30" y="29"/>
                </a:cxn>
                <a:cxn ang="0">
                  <a:pos x="23" y="0"/>
                </a:cxn>
                <a:cxn ang="0">
                  <a:pos x="0" y="1"/>
                </a:cxn>
                <a:cxn ang="0">
                  <a:pos x="3" y="24"/>
                </a:cxn>
                <a:cxn ang="0">
                  <a:pos x="10" y="40"/>
                </a:cxn>
                <a:cxn ang="0">
                  <a:pos x="25" y="43"/>
                </a:cxn>
              </a:cxnLst>
              <a:rect l="0" t="0" r="r" b="b"/>
              <a:pathLst>
                <a:path w="30" h="43">
                  <a:moveTo>
                    <a:pt x="25" y="43"/>
                  </a:moveTo>
                  <a:lnTo>
                    <a:pt x="30" y="29"/>
                  </a:lnTo>
                  <a:lnTo>
                    <a:pt x="23" y="0"/>
                  </a:lnTo>
                  <a:lnTo>
                    <a:pt x="0" y="1"/>
                  </a:lnTo>
                  <a:lnTo>
                    <a:pt x="3" y="24"/>
                  </a:lnTo>
                  <a:lnTo>
                    <a:pt x="10" y="40"/>
                  </a:lnTo>
                  <a:lnTo>
                    <a:pt x="25" y="43"/>
                  </a:lnTo>
                  <a:close/>
                </a:path>
              </a:pathLst>
            </a:custGeom>
            <a:grpFill/>
            <a:ln w="12700">
              <a:solidFill>
                <a:schemeClr val="bg1"/>
              </a:solidFill>
              <a:round/>
              <a:headEnd/>
              <a:tailEnd/>
            </a:ln>
          </p:spPr>
          <p:txBody>
            <a:bodyPr/>
            <a:lstStyle/>
            <a:p>
              <a:endParaRPr lang="de-DE"/>
            </a:p>
          </p:txBody>
        </p:sp>
        <p:sp>
          <p:nvSpPr>
            <p:cNvPr id="81" name="Freeform 23">
              <a:extLst>
                <a:ext uri="{FF2B5EF4-FFF2-40B4-BE49-F238E27FC236}">
                  <a16:creationId xmlns:a16="http://schemas.microsoft.com/office/drawing/2014/main" id="{0DCBF03E-1597-7C7C-69C9-862BA275B11A}"/>
                </a:ext>
              </a:extLst>
            </p:cNvPr>
            <p:cNvSpPr>
              <a:spLocks/>
            </p:cNvSpPr>
            <p:nvPr/>
          </p:nvSpPr>
          <p:spPr bwMode="gray">
            <a:xfrm>
              <a:off x="2415" y="1881"/>
              <a:ext cx="104" cy="70"/>
            </a:xfrm>
            <a:custGeom>
              <a:avLst/>
              <a:gdLst/>
              <a:ahLst/>
              <a:cxnLst>
                <a:cxn ang="0">
                  <a:pos x="37" y="27"/>
                </a:cxn>
                <a:cxn ang="0">
                  <a:pos x="66" y="88"/>
                </a:cxn>
                <a:cxn ang="0">
                  <a:pos x="80" y="98"/>
                </a:cxn>
                <a:cxn ang="0">
                  <a:pos x="127" y="102"/>
                </a:cxn>
                <a:cxn ang="0">
                  <a:pos x="151" y="61"/>
                </a:cxn>
                <a:cxn ang="0">
                  <a:pos x="143" y="28"/>
                </a:cxn>
                <a:cxn ang="0">
                  <a:pos x="67" y="11"/>
                </a:cxn>
                <a:cxn ang="0">
                  <a:pos x="0" y="0"/>
                </a:cxn>
                <a:cxn ang="0">
                  <a:pos x="3" y="13"/>
                </a:cxn>
                <a:cxn ang="0">
                  <a:pos x="37" y="27"/>
                </a:cxn>
              </a:cxnLst>
              <a:rect l="0" t="0" r="r" b="b"/>
              <a:pathLst>
                <a:path w="151" h="102">
                  <a:moveTo>
                    <a:pt x="37" y="27"/>
                  </a:moveTo>
                  <a:lnTo>
                    <a:pt x="66" y="88"/>
                  </a:lnTo>
                  <a:lnTo>
                    <a:pt x="80" y="98"/>
                  </a:lnTo>
                  <a:lnTo>
                    <a:pt x="127" y="102"/>
                  </a:lnTo>
                  <a:lnTo>
                    <a:pt x="151" y="61"/>
                  </a:lnTo>
                  <a:lnTo>
                    <a:pt x="143" y="28"/>
                  </a:lnTo>
                  <a:lnTo>
                    <a:pt x="67" y="11"/>
                  </a:lnTo>
                  <a:lnTo>
                    <a:pt x="0" y="0"/>
                  </a:lnTo>
                  <a:lnTo>
                    <a:pt x="3" y="13"/>
                  </a:lnTo>
                  <a:lnTo>
                    <a:pt x="37" y="27"/>
                  </a:lnTo>
                  <a:close/>
                </a:path>
              </a:pathLst>
            </a:custGeom>
            <a:grpFill/>
            <a:ln w="12700">
              <a:noFill/>
              <a:round/>
              <a:headEnd/>
              <a:tailEnd/>
            </a:ln>
          </p:spPr>
          <p:txBody>
            <a:bodyPr/>
            <a:lstStyle/>
            <a:p>
              <a:endParaRPr lang="de-DE"/>
            </a:p>
          </p:txBody>
        </p:sp>
        <p:sp>
          <p:nvSpPr>
            <p:cNvPr id="82" name="Freeform 24">
              <a:extLst>
                <a:ext uri="{FF2B5EF4-FFF2-40B4-BE49-F238E27FC236}">
                  <a16:creationId xmlns:a16="http://schemas.microsoft.com/office/drawing/2014/main" id="{B121D59F-97B1-AEBC-E796-DC2D31A32C45}"/>
                </a:ext>
              </a:extLst>
            </p:cNvPr>
            <p:cNvSpPr>
              <a:spLocks/>
            </p:cNvSpPr>
            <p:nvPr/>
          </p:nvSpPr>
          <p:spPr bwMode="gray">
            <a:xfrm>
              <a:off x="2667" y="1682"/>
              <a:ext cx="141" cy="128"/>
            </a:xfrm>
            <a:custGeom>
              <a:avLst/>
              <a:gdLst/>
              <a:ahLst/>
              <a:cxnLst>
                <a:cxn ang="0">
                  <a:pos x="93" y="77"/>
                </a:cxn>
                <a:cxn ang="0">
                  <a:pos x="83" y="73"/>
                </a:cxn>
                <a:cxn ang="0">
                  <a:pos x="95" y="40"/>
                </a:cxn>
                <a:cxn ang="0">
                  <a:pos x="89" y="27"/>
                </a:cxn>
                <a:cxn ang="0">
                  <a:pos x="91" y="1"/>
                </a:cxn>
                <a:cxn ang="0">
                  <a:pos x="81" y="0"/>
                </a:cxn>
                <a:cxn ang="0">
                  <a:pos x="54" y="30"/>
                </a:cxn>
                <a:cxn ang="0">
                  <a:pos x="5" y="52"/>
                </a:cxn>
                <a:cxn ang="0">
                  <a:pos x="0" y="76"/>
                </a:cxn>
                <a:cxn ang="0">
                  <a:pos x="6" y="91"/>
                </a:cxn>
                <a:cxn ang="0">
                  <a:pos x="32" y="119"/>
                </a:cxn>
                <a:cxn ang="0">
                  <a:pos x="63" y="120"/>
                </a:cxn>
                <a:cxn ang="0">
                  <a:pos x="69" y="114"/>
                </a:cxn>
                <a:cxn ang="0">
                  <a:pos x="82" y="113"/>
                </a:cxn>
                <a:cxn ang="0">
                  <a:pos x="96" y="128"/>
                </a:cxn>
                <a:cxn ang="0">
                  <a:pos x="103" y="128"/>
                </a:cxn>
                <a:cxn ang="0">
                  <a:pos x="118" y="118"/>
                </a:cxn>
                <a:cxn ang="0">
                  <a:pos x="129" y="117"/>
                </a:cxn>
                <a:cxn ang="0">
                  <a:pos x="141" y="126"/>
                </a:cxn>
                <a:cxn ang="0">
                  <a:pos x="137" y="116"/>
                </a:cxn>
                <a:cxn ang="0">
                  <a:pos x="93" y="77"/>
                </a:cxn>
              </a:cxnLst>
              <a:rect l="0" t="0" r="r" b="b"/>
              <a:pathLst>
                <a:path w="141" h="128">
                  <a:moveTo>
                    <a:pt x="93" y="77"/>
                  </a:moveTo>
                  <a:lnTo>
                    <a:pt x="83" y="73"/>
                  </a:lnTo>
                  <a:lnTo>
                    <a:pt x="95" y="40"/>
                  </a:lnTo>
                  <a:lnTo>
                    <a:pt x="89" y="27"/>
                  </a:lnTo>
                  <a:lnTo>
                    <a:pt x="91" y="1"/>
                  </a:lnTo>
                  <a:lnTo>
                    <a:pt x="81" y="0"/>
                  </a:lnTo>
                  <a:lnTo>
                    <a:pt x="54" y="30"/>
                  </a:lnTo>
                  <a:lnTo>
                    <a:pt x="5" y="52"/>
                  </a:lnTo>
                  <a:lnTo>
                    <a:pt x="0" y="76"/>
                  </a:lnTo>
                  <a:lnTo>
                    <a:pt x="6" y="91"/>
                  </a:lnTo>
                  <a:lnTo>
                    <a:pt x="32" y="119"/>
                  </a:lnTo>
                  <a:lnTo>
                    <a:pt x="63" y="120"/>
                  </a:lnTo>
                  <a:lnTo>
                    <a:pt x="69" y="114"/>
                  </a:lnTo>
                  <a:lnTo>
                    <a:pt x="82" y="113"/>
                  </a:lnTo>
                  <a:lnTo>
                    <a:pt x="96" y="128"/>
                  </a:lnTo>
                  <a:lnTo>
                    <a:pt x="103" y="128"/>
                  </a:lnTo>
                  <a:lnTo>
                    <a:pt x="118" y="118"/>
                  </a:lnTo>
                  <a:lnTo>
                    <a:pt x="129" y="117"/>
                  </a:lnTo>
                  <a:lnTo>
                    <a:pt x="141" y="126"/>
                  </a:lnTo>
                  <a:lnTo>
                    <a:pt x="137" y="116"/>
                  </a:lnTo>
                  <a:lnTo>
                    <a:pt x="93" y="77"/>
                  </a:lnTo>
                  <a:close/>
                </a:path>
              </a:pathLst>
            </a:custGeom>
            <a:grpFill/>
            <a:ln w="12700">
              <a:noFill/>
              <a:round/>
              <a:headEnd/>
              <a:tailEnd/>
            </a:ln>
          </p:spPr>
          <p:txBody>
            <a:bodyPr/>
            <a:lstStyle/>
            <a:p>
              <a:endParaRPr lang="de-DE"/>
            </a:p>
          </p:txBody>
        </p:sp>
        <p:sp>
          <p:nvSpPr>
            <p:cNvPr id="83" name="Freeform 25">
              <a:extLst>
                <a:ext uri="{FF2B5EF4-FFF2-40B4-BE49-F238E27FC236}">
                  <a16:creationId xmlns:a16="http://schemas.microsoft.com/office/drawing/2014/main" id="{445449D5-32AC-CC7C-9D50-FE2D69D035AC}"/>
                </a:ext>
              </a:extLst>
            </p:cNvPr>
            <p:cNvSpPr>
              <a:spLocks/>
            </p:cNvSpPr>
            <p:nvPr/>
          </p:nvSpPr>
          <p:spPr bwMode="gray">
            <a:xfrm>
              <a:off x="3388" y="2015"/>
              <a:ext cx="139" cy="114"/>
            </a:xfrm>
            <a:custGeom>
              <a:avLst/>
              <a:gdLst/>
              <a:ahLst/>
              <a:cxnLst>
                <a:cxn ang="0">
                  <a:pos x="168" y="88"/>
                </a:cxn>
                <a:cxn ang="0">
                  <a:pos x="172" y="68"/>
                </a:cxn>
                <a:cxn ang="0">
                  <a:pos x="137" y="15"/>
                </a:cxn>
                <a:cxn ang="0">
                  <a:pos x="124" y="0"/>
                </a:cxn>
                <a:cxn ang="0">
                  <a:pos x="107" y="3"/>
                </a:cxn>
                <a:cxn ang="0">
                  <a:pos x="88" y="28"/>
                </a:cxn>
                <a:cxn ang="0">
                  <a:pos x="55" y="11"/>
                </a:cxn>
                <a:cxn ang="0">
                  <a:pos x="11" y="51"/>
                </a:cxn>
                <a:cxn ang="0">
                  <a:pos x="15" y="122"/>
                </a:cxn>
                <a:cxn ang="0">
                  <a:pos x="0" y="150"/>
                </a:cxn>
                <a:cxn ang="0">
                  <a:pos x="10" y="158"/>
                </a:cxn>
                <a:cxn ang="0">
                  <a:pos x="71" y="134"/>
                </a:cxn>
                <a:cxn ang="0">
                  <a:pos x="152" y="137"/>
                </a:cxn>
                <a:cxn ang="0">
                  <a:pos x="177" y="165"/>
                </a:cxn>
                <a:cxn ang="0">
                  <a:pos x="201" y="126"/>
                </a:cxn>
                <a:cxn ang="0">
                  <a:pos x="199" y="101"/>
                </a:cxn>
                <a:cxn ang="0">
                  <a:pos x="168" y="88"/>
                </a:cxn>
              </a:cxnLst>
              <a:rect l="0" t="0" r="r" b="b"/>
              <a:pathLst>
                <a:path w="201" h="165">
                  <a:moveTo>
                    <a:pt x="168" y="88"/>
                  </a:moveTo>
                  <a:lnTo>
                    <a:pt x="172" y="68"/>
                  </a:lnTo>
                  <a:lnTo>
                    <a:pt x="137" y="15"/>
                  </a:lnTo>
                  <a:lnTo>
                    <a:pt x="124" y="0"/>
                  </a:lnTo>
                  <a:lnTo>
                    <a:pt x="107" y="3"/>
                  </a:lnTo>
                  <a:lnTo>
                    <a:pt x="88" y="28"/>
                  </a:lnTo>
                  <a:lnTo>
                    <a:pt x="55" y="11"/>
                  </a:lnTo>
                  <a:lnTo>
                    <a:pt x="11" y="51"/>
                  </a:lnTo>
                  <a:lnTo>
                    <a:pt x="15" y="122"/>
                  </a:lnTo>
                  <a:lnTo>
                    <a:pt x="0" y="150"/>
                  </a:lnTo>
                  <a:lnTo>
                    <a:pt x="10" y="158"/>
                  </a:lnTo>
                  <a:lnTo>
                    <a:pt x="71" y="134"/>
                  </a:lnTo>
                  <a:lnTo>
                    <a:pt x="152" y="137"/>
                  </a:lnTo>
                  <a:lnTo>
                    <a:pt x="177" y="165"/>
                  </a:lnTo>
                  <a:lnTo>
                    <a:pt x="201" y="126"/>
                  </a:lnTo>
                  <a:lnTo>
                    <a:pt x="199" y="101"/>
                  </a:lnTo>
                  <a:lnTo>
                    <a:pt x="168" y="88"/>
                  </a:lnTo>
                  <a:close/>
                </a:path>
              </a:pathLst>
            </a:custGeom>
            <a:grpFill/>
            <a:ln w="12700">
              <a:noFill/>
              <a:round/>
              <a:headEnd/>
              <a:tailEnd/>
            </a:ln>
          </p:spPr>
          <p:txBody>
            <a:bodyPr/>
            <a:lstStyle/>
            <a:p>
              <a:endParaRPr lang="de-DE"/>
            </a:p>
          </p:txBody>
        </p:sp>
      </p:grpSp>
      <p:sp>
        <p:nvSpPr>
          <p:cNvPr id="107" name="Textfeld 106">
            <a:extLst>
              <a:ext uri="{FF2B5EF4-FFF2-40B4-BE49-F238E27FC236}">
                <a16:creationId xmlns:a16="http://schemas.microsoft.com/office/drawing/2014/main" id="{B21AD632-4EE1-6EEB-99C8-A896FDE849FE}"/>
              </a:ext>
            </a:extLst>
          </p:cNvPr>
          <p:cNvSpPr txBox="1"/>
          <p:nvPr/>
        </p:nvSpPr>
        <p:spPr>
          <a:xfrm>
            <a:off x="3063906" y="2541698"/>
            <a:ext cx="2190600" cy="354594"/>
          </a:xfrm>
          <a:prstGeom prst="rect">
            <a:avLst/>
          </a:prstGeom>
          <a:noFill/>
        </p:spPr>
        <p:txBody>
          <a:bodyPr wrap="square" lIns="0" tIns="0" rIns="0" bIns="0" rtlCol="0">
            <a:noAutofit/>
          </a:bodyPr>
          <a:lstStyle/>
          <a:p>
            <a:pPr algn="ctr">
              <a:lnSpc>
                <a:spcPts val="1700"/>
              </a:lnSpc>
              <a:spcAft>
                <a:spcPts val="1800"/>
              </a:spcAft>
            </a:pPr>
            <a:r>
              <a:rPr lang="de-DE" sz="1400" dirty="0">
                <a:solidFill>
                  <a:srgbClr val="013C74"/>
                </a:solidFill>
              </a:rPr>
              <a:t>Aktuelle Lage </a:t>
            </a:r>
            <a:br>
              <a:rPr lang="de-DE" sz="1400" dirty="0">
                <a:solidFill>
                  <a:srgbClr val="013C74"/>
                </a:solidFill>
              </a:rPr>
            </a:br>
            <a:r>
              <a:rPr lang="de-DE" sz="1400" dirty="0">
                <a:solidFill>
                  <a:srgbClr val="013C74"/>
                </a:solidFill>
              </a:rPr>
              <a:t>der täglichen  </a:t>
            </a:r>
            <a:br>
              <a:rPr lang="de-DE" sz="1400" dirty="0">
                <a:solidFill>
                  <a:srgbClr val="013C74"/>
                </a:solidFill>
              </a:rPr>
            </a:br>
            <a:r>
              <a:rPr lang="de-DE" sz="1400" dirty="0">
                <a:solidFill>
                  <a:srgbClr val="013C74"/>
                </a:solidFill>
              </a:rPr>
              <a:t>Gasflüsse</a:t>
            </a:r>
            <a:br>
              <a:rPr lang="de-DE" sz="1400" dirty="0">
                <a:solidFill>
                  <a:srgbClr val="013C74"/>
                </a:solidFill>
              </a:rPr>
            </a:br>
            <a:r>
              <a:rPr lang="de-DE" sz="1400" dirty="0">
                <a:solidFill>
                  <a:srgbClr val="013C74"/>
                </a:solidFill>
              </a:rPr>
              <a:t>nach </a:t>
            </a:r>
            <a:br>
              <a:rPr lang="de-DE" sz="1400" dirty="0">
                <a:solidFill>
                  <a:srgbClr val="013C74"/>
                </a:solidFill>
              </a:rPr>
            </a:br>
            <a:r>
              <a:rPr lang="de-DE" sz="1400" dirty="0">
                <a:solidFill>
                  <a:srgbClr val="013C74"/>
                </a:solidFill>
              </a:rPr>
              <a:t>Deutschland</a:t>
            </a:r>
            <a:endParaRPr lang="de-DE" sz="3200" b="1" dirty="0">
              <a:solidFill>
                <a:srgbClr val="013C74"/>
              </a:solidFill>
            </a:endParaRPr>
          </a:p>
        </p:txBody>
      </p:sp>
      <p:sp>
        <p:nvSpPr>
          <p:cNvPr id="108" name="Pfeil: nach unten 107">
            <a:extLst>
              <a:ext uri="{FF2B5EF4-FFF2-40B4-BE49-F238E27FC236}">
                <a16:creationId xmlns:a16="http://schemas.microsoft.com/office/drawing/2014/main" id="{2D724C1C-7EE5-5323-1B56-2051D46BD66E}"/>
              </a:ext>
            </a:extLst>
          </p:cNvPr>
          <p:cNvSpPr/>
          <p:nvPr/>
        </p:nvSpPr>
        <p:spPr>
          <a:xfrm rot="2433606">
            <a:off x="4495443" y="1188449"/>
            <a:ext cx="988968" cy="112535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1200"/>
              <a:t>Russland</a:t>
            </a:r>
          </a:p>
        </p:txBody>
      </p:sp>
      <p:sp>
        <p:nvSpPr>
          <p:cNvPr id="111" name="Textfeld 110">
            <a:extLst>
              <a:ext uri="{FF2B5EF4-FFF2-40B4-BE49-F238E27FC236}">
                <a16:creationId xmlns:a16="http://schemas.microsoft.com/office/drawing/2014/main" id="{061DC8C7-8EF1-BA48-311D-EE4FE933B966}"/>
              </a:ext>
            </a:extLst>
          </p:cNvPr>
          <p:cNvSpPr txBox="1"/>
          <p:nvPr/>
        </p:nvSpPr>
        <p:spPr>
          <a:xfrm>
            <a:off x="5573791" y="1146193"/>
            <a:ext cx="1757312" cy="542039"/>
          </a:xfrm>
          <a:prstGeom prst="rect">
            <a:avLst/>
          </a:prstGeom>
          <a:noFill/>
        </p:spPr>
        <p:txBody>
          <a:bodyPr wrap="square" lIns="0" tIns="0" rIns="0" bIns="0" rtlCol="0">
            <a:noAutofit/>
          </a:bodyPr>
          <a:lstStyle/>
          <a:p>
            <a:pPr algn="l"/>
            <a:r>
              <a:rPr lang="de-DE" sz="1200" dirty="0">
                <a:solidFill>
                  <a:schemeClr val="accent1"/>
                </a:solidFill>
              </a:rPr>
              <a:t>Nord Stream 1</a:t>
            </a:r>
          </a:p>
          <a:p>
            <a:pPr algn="l"/>
            <a:r>
              <a:rPr lang="de-DE" sz="1200" dirty="0">
                <a:solidFill>
                  <a:schemeClr val="accent1"/>
                </a:solidFill>
              </a:rPr>
              <a:t>Von 1,7 TWh auf 0,0 TWh reduziert</a:t>
            </a:r>
          </a:p>
        </p:txBody>
      </p:sp>
      <p:sp>
        <p:nvSpPr>
          <p:cNvPr id="112" name="Pfeil: nach unten 111">
            <a:extLst>
              <a:ext uri="{FF2B5EF4-FFF2-40B4-BE49-F238E27FC236}">
                <a16:creationId xmlns:a16="http://schemas.microsoft.com/office/drawing/2014/main" id="{6D7CC7DF-5F40-CB38-4CE2-E31381C66B85}"/>
              </a:ext>
            </a:extLst>
          </p:cNvPr>
          <p:cNvSpPr/>
          <p:nvPr/>
        </p:nvSpPr>
        <p:spPr>
          <a:xfrm rot="5043692">
            <a:off x="5075850" y="2409846"/>
            <a:ext cx="559819" cy="784500"/>
          </a:xfrm>
          <a:prstGeom prst="downArrow">
            <a:avLst>
              <a:gd name="adj1" fmla="val 51316"/>
              <a:gd name="adj2" fmla="val 5191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800"/>
              <a:t>Russland</a:t>
            </a:r>
          </a:p>
        </p:txBody>
      </p:sp>
      <p:sp>
        <p:nvSpPr>
          <p:cNvPr id="113" name="Textfeld 112">
            <a:extLst>
              <a:ext uri="{FF2B5EF4-FFF2-40B4-BE49-F238E27FC236}">
                <a16:creationId xmlns:a16="http://schemas.microsoft.com/office/drawing/2014/main" id="{65A79350-4353-0466-B231-B1D0219F0A48}"/>
              </a:ext>
            </a:extLst>
          </p:cNvPr>
          <p:cNvSpPr txBox="1"/>
          <p:nvPr/>
        </p:nvSpPr>
        <p:spPr>
          <a:xfrm>
            <a:off x="5891368" y="2571750"/>
            <a:ext cx="2251832" cy="623464"/>
          </a:xfrm>
          <a:prstGeom prst="rect">
            <a:avLst/>
          </a:prstGeom>
          <a:noFill/>
        </p:spPr>
        <p:txBody>
          <a:bodyPr wrap="square" lIns="0" tIns="0" rIns="0" bIns="0" rtlCol="0">
            <a:noAutofit/>
          </a:bodyPr>
          <a:lstStyle>
            <a:defPPr>
              <a:defRPr lang="en-US"/>
            </a:defPPr>
            <a:lvl1pPr>
              <a:defRPr sz="1200">
                <a:solidFill>
                  <a:schemeClr val="accent1"/>
                </a:solidFill>
              </a:defRPr>
            </a:lvl1pPr>
          </a:lstStyle>
          <a:p>
            <a:r>
              <a:rPr lang="de-DE" dirty="0"/>
              <a:t>YAMAL über Polen</a:t>
            </a:r>
          </a:p>
          <a:p>
            <a:r>
              <a:rPr lang="de-DE" dirty="0"/>
              <a:t>Seit Ende April auf </a:t>
            </a:r>
            <a:br>
              <a:rPr lang="de-DE" dirty="0"/>
            </a:br>
            <a:r>
              <a:rPr lang="de-DE" dirty="0"/>
              <a:t>0,0 TWh reduziert</a:t>
            </a:r>
          </a:p>
          <a:p>
            <a:r>
              <a:rPr lang="de-DE" dirty="0"/>
              <a:t>Vorher: 0,8 TWh </a:t>
            </a:r>
            <a:r>
              <a:rPr lang="de-DE" sz="800" dirty="0"/>
              <a:t>(bis 01.10.2021)</a:t>
            </a:r>
          </a:p>
        </p:txBody>
      </p:sp>
      <p:sp>
        <p:nvSpPr>
          <p:cNvPr id="116" name="Pfeil: nach unten 115">
            <a:extLst>
              <a:ext uri="{FF2B5EF4-FFF2-40B4-BE49-F238E27FC236}">
                <a16:creationId xmlns:a16="http://schemas.microsoft.com/office/drawing/2014/main" id="{AFC7A5FB-098C-9923-A97C-AFDE62ED7CFF}"/>
              </a:ext>
            </a:extLst>
          </p:cNvPr>
          <p:cNvSpPr/>
          <p:nvPr/>
        </p:nvSpPr>
        <p:spPr>
          <a:xfrm rot="5400000">
            <a:off x="4746170" y="3257469"/>
            <a:ext cx="543537" cy="928404"/>
          </a:xfrm>
          <a:prstGeom prst="downArrow">
            <a:avLst>
              <a:gd name="adj1" fmla="val 33400"/>
              <a:gd name="adj2" fmla="val 4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1000"/>
              <a:t>Russland</a:t>
            </a:r>
          </a:p>
        </p:txBody>
      </p:sp>
      <p:sp>
        <p:nvSpPr>
          <p:cNvPr id="117" name="Textfeld 116">
            <a:extLst>
              <a:ext uri="{FF2B5EF4-FFF2-40B4-BE49-F238E27FC236}">
                <a16:creationId xmlns:a16="http://schemas.microsoft.com/office/drawing/2014/main" id="{81A3D9E6-E087-EFFC-F5CB-00C0C27BAD7E}"/>
              </a:ext>
            </a:extLst>
          </p:cNvPr>
          <p:cNvSpPr txBox="1"/>
          <p:nvPr/>
        </p:nvSpPr>
        <p:spPr>
          <a:xfrm>
            <a:off x="5676459" y="3595592"/>
            <a:ext cx="1837300" cy="623464"/>
          </a:xfrm>
          <a:prstGeom prst="rect">
            <a:avLst/>
          </a:prstGeom>
          <a:noFill/>
        </p:spPr>
        <p:txBody>
          <a:bodyPr wrap="square" lIns="0" tIns="0" rIns="0" bIns="0" rtlCol="0">
            <a:noAutofit/>
          </a:bodyPr>
          <a:lstStyle>
            <a:defPPr>
              <a:defRPr lang="en-US"/>
            </a:defPPr>
            <a:lvl1pPr>
              <a:defRPr sz="1200">
                <a:solidFill>
                  <a:schemeClr val="accent1"/>
                </a:solidFill>
              </a:defRPr>
            </a:lvl1pPr>
          </a:lstStyle>
          <a:p>
            <a:r>
              <a:rPr lang="de-DE" dirty="0"/>
              <a:t>über Tschechien</a:t>
            </a:r>
          </a:p>
          <a:p>
            <a:r>
              <a:rPr lang="de-DE" dirty="0"/>
              <a:t>Von 0,7 TWh auf 0 TWh reduziert</a:t>
            </a:r>
          </a:p>
        </p:txBody>
      </p:sp>
      <p:sp>
        <p:nvSpPr>
          <p:cNvPr id="120" name="Pfeil: nach unten 119">
            <a:extLst>
              <a:ext uri="{FF2B5EF4-FFF2-40B4-BE49-F238E27FC236}">
                <a16:creationId xmlns:a16="http://schemas.microsoft.com/office/drawing/2014/main" id="{4ABC5DCF-C63E-26C7-1F50-599A47FA701A}"/>
              </a:ext>
            </a:extLst>
          </p:cNvPr>
          <p:cNvSpPr/>
          <p:nvPr/>
        </p:nvSpPr>
        <p:spPr>
          <a:xfrm rot="20304896">
            <a:off x="3139658" y="1254422"/>
            <a:ext cx="826881" cy="1220409"/>
          </a:xfrm>
          <a:prstGeom prst="downArrow">
            <a:avLst>
              <a:gd name="adj1" fmla="val 56537"/>
              <a:gd name="adj2" fmla="val 69781"/>
            </a:avLst>
          </a:prstGeom>
          <a:solidFill>
            <a:srgbClr val="52A43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de-DE" sz="1200"/>
              <a:t>Norwegen</a:t>
            </a:r>
          </a:p>
        </p:txBody>
      </p:sp>
      <p:sp>
        <p:nvSpPr>
          <p:cNvPr id="124" name="Pfeil: nach unten 123">
            <a:extLst>
              <a:ext uri="{FF2B5EF4-FFF2-40B4-BE49-F238E27FC236}">
                <a16:creationId xmlns:a16="http://schemas.microsoft.com/office/drawing/2014/main" id="{CDA79E9E-23CF-3315-B98F-D8C5BB0A798B}"/>
              </a:ext>
            </a:extLst>
          </p:cNvPr>
          <p:cNvSpPr/>
          <p:nvPr/>
        </p:nvSpPr>
        <p:spPr>
          <a:xfrm rot="17075999">
            <a:off x="2884905" y="2052634"/>
            <a:ext cx="543537" cy="928404"/>
          </a:xfrm>
          <a:prstGeom prst="downArrow">
            <a:avLst>
              <a:gd name="adj1" fmla="val 33400"/>
              <a:gd name="adj2" fmla="val 40834"/>
            </a:avLst>
          </a:prstGeom>
          <a:solidFill>
            <a:srgbClr val="52A43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de-DE" sz="1000"/>
              <a:t>Niederlande</a:t>
            </a:r>
          </a:p>
        </p:txBody>
      </p:sp>
      <p:sp>
        <p:nvSpPr>
          <p:cNvPr id="126" name="Pfeil: nach unten 125">
            <a:extLst>
              <a:ext uri="{FF2B5EF4-FFF2-40B4-BE49-F238E27FC236}">
                <a16:creationId xmlns:a16="http://schemas.microsoft.com/office/drawing/2014/main" id="{F9CECFE0-3E9E-FA75-BE47-80B6F1AA6607}"/>
              </a:ext>
            </a:extLst>
          </p:cNvPr>
          <p:cNvSpPr/>
          <p:nvPr/>
        </p:nvSpPr>
        <p:spPr>
          <a:xfrm rot="16200000">
            <a:off x="2833498" y="2880943"/>
            <a:ext cx="543537" cy="928404"/>
          </a:xfrm>
          <a:prstGeom prst="downArrow">
            <a:avLst>
              <a:gd name="adj1" fmla="val 45103"/>
              <a:gd name="adj2" fmla="val 40834"/>
            </a:avLst>
          </a:prstGeom>
          <a:solidFill>
            <a:srgbClr val="52A43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de-DE" sz="1000"/>
              <a:t>Belgien</a:t>
            </a:r>
          </a:p>
        </p:txBody>
      </p:sp>
      <p:sp>
        <p:nvSpPr>
          <p:cNvPr id="135" name="Textfeld 134">
            <a:extLst>
              <a:ext uri="{FF2B5EF4-FFF2-40B4-BE49-F238E27FC236}">
                <a16:creationId xmlns:a16="http://schemas.microsoft.com/office/drawing/2014/main" id="{C093E19C-8E52-8050-8BF4-5E9D46AFF474}"/>
              </a:ext>
            </a:extLst>
          </p:cNvPr>
          <p:cNvSpPr txBox="1"/>
          <p:nvPr/>
        </p:nvSpPr>
        <p:spPr>
          <a:xfrm>
            <a:off x="1048893" y="1086542"/>
            <a:ext cx="1757312" cy="542039"/>
          </a:xfrm>
          <a:prstGeom prst="rect">
            <a:avLst/>
          </a:prstGeom>
          <a:noFill/>
        </p:spPr>
        <p:txBody>
          <a:bodyPr wrap="square" lIns="0" tIns="0" rIns="0" bIns="0" rtlCol="0">
            <a:noAutofit/>
          </a:bodyPr>
          <a:lstStyle/>
          <a:p>
            <a:pPr algn="l"/>
            <a:r>
              <a:rPr lang="de-DE" sz="1200">
                <a:solidFill>
                  <a:schemeClr val="accent1"/>
                </a:solidFill>
              </a:rPr>
              <a:t>Norwegen</a:t>
            </a:r>
          </a:p>
          <a:p>
            <a:pPr algn="l"/>
            <a:r>
              <a:rPr lang="de-DE" sz="1200">
                <a:solidFill>
                  <a:schemeClr val="accent1"/>
                </a:solidFill>
              </a:rPr>
              <a:t>1,2 TWh aktuelle Leistung</a:t>
            </a:r>
          </a:p>
          <a:p>
            <a:pPr algn="l"/>
            <a:r>
              <a:rPr lang="de-DE" sz="1200" u="sng">
                <a:solidFill>
                  <a:schemeClr val="accent1"/>
                </a:solidFill>
              </a:rPr>
              <a:t>Deutlich über FZK</a:t>
            </a:r>
          </a:p>
        </p:txBody>
      </p:sp>
      <p:sp>
        <p:nvSpPr>
          <p:cNvPr id="136" name="Textfeld 135">
            <a:extLst>
              <a:ext uri="{FF2B5EF4-FFF2-40B4-BE49-F238E27FC236}">
                <a16:creationId xmlns:a16="http://schemas.microsoft.com/office/drawing/2014/main" id="{515994FF-437E-0C40-1EDF-F6264EE7F974}"/>
              </a:ext>
            </a:extLst>
          </p:cNvPr>
          <p:cNvSpPr txBox="1"/>
          <p:nvPr/>
        </p:nvSpPr>
        <p:spPr>
          <a:xfrm>
            <a:off x="762109" y="2077643"/>
            <a:ext cx="1896843" cy="542039"/>
          </a:xfrm>
          <a:prstGeom prst="rect">
            <a:avLst/>
          </a:prstGeom>
          <a:noFill/>
        </p:spPr>
        <p:txBody>
          <a:bodyPr wrap="square" lIns="0" tIns="0" rIns="0" bIns="0" rtlCol="0">
            <a:noAutofit/>
          </a:bodyPr>
          <a:lstStyle/>
          <a:p>
            <a:pPr algn="l"/>
            <a:r>
              <a:rPr lang="de-DE" sz="1200">
                <a:solidFill>
                  <a:schemeClr val="accent1"/>
                </a:solidFill>
              </a:rPr>
              <a:t>Niederlande</a:t>
            </a:r>
          </a:p>
          <a:p>
            <a:pPr algn="l"/>
            <a:r>
              <a:rPr lang="de-DE" sz="1200">
                <a:solidFill>
                  <a:schemeClr val="accent1"/>
                </a:solidFill>
              </a:rPr>
              <a:t>0,5 TWh aktuelle Leistung</a:t>
            </a:r>
          </a:p>
          <a:p>
            <a:r>
              <a:rPr lang="de-DE" sz="1200" u="sng">
                <a:solidFill>
                  <a:schemeClr val="accent1"/>
                </a:solidFill>
              </a:rPr>
              <a:t>Deutlich über FZK </a:t>
            </a:r>
            <a:r>
              <a:rPr lang="de-DE" sz="800" u="sng">
                <a:solidFill>
                  <a:schemeClr val="accent1"/>
                </a:solidFill>
              </a:rPr>
              <a:t>(H-Gas)</a:t>
            </a:r>
          </a:p>
          <a:p>
            <a:pPr algn="l"/>
            <a:endParaRPr lang="de-DE" sz="1200">
              <a:solidFill>
                <a:schemeClr val="accent1"/>
              </a:solidFill>
            </a:endParaRPr>
          </a:p>
        </p:txBody>
      </p:sp>
      <p:sp>
        <p:nvSpPr>
          <p:cNvPr id="137" name="Textfeld 136">
            <a:extLst>
              <a:ext uri="{FF2B5EF4-FFF2-40B4-BE49-F238E27FC236}">
                <a16:creationId xmlns:a16="http://schemas.microsoft.com/office/drawing/2014/main" id="{91EE3FB5-F350-97B6-7F23-3CE65A86E81D}"/>
              </a:ext>
            </a:extLst>
          </p:cNvPr>
          <p:cNvSpPr txBox="1"/>
          <p:nvPr/>
        </p:nvSpPr>
        <p:spPr>
          <a:xfrm>
            <a:off x="699834" y="3057254"/>
            <a:ext cx="1757312" cy="542039"/>
          </a:xfrm>
          <a:prstGeom prst="rect">
            <a:avLst/>
          </a:prstGeom>
          <a:noFill/>
        </p:spPr>
        <p:txBody>
          <a:bodyPr wrap="square" lIns="0" tIns="0" rIns="0" bIns="0" rtlCol="0">
            <a:noAutofit/>
          </a:bodyPr>
          <a:lstStyle/>
          <a:p>
            <a:pPr algn="l"/>
            <a:r>
              <a:rPr lang="de-DE" sz="1200">
                <a:solidFill>
                  <a:schemeClr val="accent1"/>
                </a:solidFill>
              </a:rPr>
              <a:t>Belgien</a:t>
            </a:r>
          </a:p>
          <a:p>
            <a:pPr algn="l"/>
            <a:r>
              <a:rPr lang="de-DE" sz="1200">
                <a:solidFill>
                  <a:schemeClr val="accent1"/>
                </a:solidFill>
              </a:rPr>
              <a:t>0,8 TWh aktuelle Leistung</a:t>
            </a:r>
          </a:p>
          <a:p>
            <a:r>
              <a:rPr lang="de-DE" sz="1200" u="sng">
                <a:solidFill>
                  <a:schemeClr val="accent1"/>
                </a:solidFill>
              </a:rPr>
              <a:t>Deutlich über FZK</a:t>
            </a:r>
          </a:p>
          <a:p>
            <a:pPr algn="l"/>
            <a:endParaRPr lang="de-DE" sz="1200">
              <a:solidFill>
                <a:schemeClr val="accent1"/>
              </a:solidFill>
            </a:endParaRPr>
          </a:p>
        </p:txBody>
      </p:sp>
      <p:sp>
        <p:nvSpPr>
          <p:cNvPr id="3" name="Textfeld 2">
            <a:extLst>
              <a:ext uri="{FF2B5EF4-FFF2-40B4-BE49-F238E27FC236}">
                <a16:creationId xmlns:a16="http://schemas.microsoft.com/office/drawing/2014/main" id="{CC66FB6E-E268-8B82-B0B0-38CDEDC90E4B}"/>
              </a:ext>
            </a:extLst>
          </p:cNvPr>
          <p:cNvSpPr txBox="1"/>
          <p:nvPr/>
        </p:nvSpPr>
        <p:spPr>
          <a:xfrm>
            <a:off x="699834" y="4578096"/>
            <a:ext cx="3126607" cy="196068"/>
          </a:xfrm>
          <a:prstGeom prst="rect">
            <a:avLst/>
          </a:prstGeom>
          <a:noFill/>
        </p:spPr>
        <p:txBody>
          <a:bodyPr wrap="square" lIns="0" tIns="0" rIns="0" bIns="0" rtlCol="0">
            <a:noAutofit/>
          </a:bodyPr>
          <a:lstStyle/>
          <a:p>
            <a:pPr algn="l">
              <a:lnSpc>
                <a:spcPts val="1700"/>
              </a:lnSpc>
              <a:spcAft>
                <a:spcPts val="800"/>
              </a:spcAft>
            </a:pPr>
            <a:endParaRPr lang="en-US" sz="1400" err="1">
              <a:solidFill>
                <a:srgbClr val="013C74"/>
              </a:solidFill>
            </a:endParaRPr>
          </a:p>
        </p:txBody>
      </p:sp>
      <p:sp>
        <p:nvSpPr>
          <p:cNvPr id="45" name="Fußzeilenplatzhalter 2">
            <a:extLst>
              <a:ext uri="{FF2B5EF4-FFF2-40B4-BE49-F238E27FC236}">
                <a16:creationId xmlns:a16="http://schemas.microsoft.com/office/drawing/2014/main" id="{19C68E97-65FD-4C02-AD22-8C31E8015545}"/>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2043516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Gesamt">
            <a:extLst>
              <a:ext uri="{FF2B5EF4-FFF2-40B4-BE49-F238E27FC236}">
                <a16:creationId xmlns:a16="http://schemas.microsoft.com/office/drawing/2014/main" id="{2B57E10A-7E74-4ED7-7633-C558F7A95E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652"/>
          <a:stretch/>
        </p:blipFill>
        <p:spPr bwMode="auto">
          <a:xfrm>
            <a:off x="2914650" y="1658986"/>
            <a:ext cx="2753025" cy="239953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a:extLst>
              <a:ext uri="{FF2B5EF4-FFF2-40B4-BE49-F238E27FC236}">
                <a16:creationId xmlns:a16="http://schemas.microsoft.com/office/drawing/2014/main" id="{B0CC9F19-A6CD-4486-B93D-07ED2C29F9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7" name="Objekt 6" hidden="1">
                        <a:extLst>
                          <a:ext uri="{FF2B5EF4-FFF2-40B4-BE49-F238E27FC236}">
                            <a16:creationId xmlns:a16="http://schemas.microsoft.com/office/drawing/2014/main" id="{B0CC9F19-A6CD-4486-B93D-07ED2C29F9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6181F93-D1DD-4B17-95BE-EEEA6994494C}"/>
              </a:ext>
            </a:extLst>
          </p:cNvPr>
          <p:cNvSpPr>
            <a:spLocks noGrp="1"/>
          </p:cNvSpPr>
          <p:nvPr>
            <p:ph type="sldNum" sz="quarter" idx="12"/>
          </p:nvPr>
        </p:nvSpPr>
        <p:spPr/>
        <p:txBody>
          <a:bodyPr/>
          <a:lstStyle/>
          <a:p>
            <a:fld id="{2B28B3E2-BA40-4815-B230-D28A7A80ABF0}" type="slidenum">
              <a:rPr lang="de-DE" smtClean="0"/>
              <a:t>6</a:t>
            </a:fld>
            <a:endParaRPr lang="de-DE"/>
          </a:p>
        </p:txBody>
      </p:sp>
      <p:pic>
        <p:nvPicPr>
          <p:cNvPr id="2054" name="Picture 6" descr="Gasspeicher: Verband sieht marktwirtschaftlichen Betrieb gefährdet: Zeitung  für kommunale Wirtschaft">
            <a:extLst>
              <a:ext uri="{FF2B5EF4-FFF2-40B4-BE49-F238E27FC236}">
                <a16:creationId xmlns:a16="http://schemas.microsoft.com/office/drawing/2014/main" id="{92BEFEF5-DC74-4CCA-8B1B-C5B4E6A6D41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0301" r="18640"/>
          <a:stretch/>
        </p:blipFill>
        <p:spPr bwMode="auto">
          <a:xfrm>
            <a:off x="-1" y="822247"/>
            <a:ext cx="2491691" cy="3823762"/>
          </a:xfrm>
          <a:prstGeom prst="rect">
            <a:avLst/>
          </a:prstGeom>
          <a:solidFill>
            <a:srgbClr val="FFFFFF">
              <a:shade val="85000"/>
            </a:srgbClr>
          </a:solidFill>
          <a:ln w="88900" cap="sq">
            <a:noFill/>
            <a:miter lim="800000"/>
          </a:ln>
          <a:effectLst/>
        </p:spPr>
      </p:pic>
      <p:sp>
        <p:nvSpPr>
          <p:cNvPr id="9" name="Textfeld 8">
            <a:extLst>
              <a:ext uri="{FF2B5EF4-FFF2-40B4-BE49-F238E27FC236}">
                <a16:creationId xmlns:a16="http://schemas.microsoft.com/office/drawing/2014/main" id="{AB7AB4B2-4EB2-6A7D-8C48-69FBB9E0B629}"/>
              </a:ext>
            </a:extLst>
          </p:cNvPr>
          <p:cNvSpPr txBox="1"/>
          <p:nvPr/>
        </p:nvSpPr>
        <p:spPr>
          <a:xfrm>
            <a:off x="3287144" y="1238469"/>
            <a:ext cx="2872111" cy="326937"/>
          </a:xfrm>
          <a:prstGeom prst="rect">
            <a:avLst/>
          </a:prstGeom>
          <a:noFill/>
        </p:spPr>
        <p:txBody>
          <a:bodyPr wrap="square" lIns="0" tIns="0" rIns="0" bIns="0" rtlCol="0">
            <a:noAutofit/>
          </a:bodyPr>
          <a:lstStyle/>
          <a:p>
            <a:pPr algn="l">
              <a:lnSpc>
                <a:spcPts val="1700"/>
              </a:lnSpc>
            </a:pPr>
            <a:r>
              <a:rPr lang="de-DE" sz="1100">
                <a:solidFill>
                  <a:srgbClr val="013C74"/>
                </a:solidFill>
              </a:rPr>
              <a:t>Gasspeicherstände am 23. Juni</a:t>
            </a:r>
          </a:p>
          <a:p>
            <a:pPr algn="l">
              <a:lnSpc>
                <a:spcPts val="1700"/>
              </a:lnSpc>
            </a:pPr>
            <a:r>
              <a:rPr lang="de-DE" sz="1100">
                <a:solidFill>
                  <a:srgbClr val="013C74"/>
                </a:solidFill>
              </a:rPr>
              <a:t>Deutschland (inkl. Österreich anteilig)</a:t>
            </a:r>
          </a:p>
        </p:txBody>
      </p:sp>
      <p:sp>
        <p:nvSpPr>
          <p:cNvPr id="22" name="Textfeld 21">
            <a:extLst>
              <a:ext uri="{FF2B5EF4-FFF2-40B4-BE49-F238E27FC236}">
                <a16:creationId xmlns:a16="http://schemas.microsoft.com/office/drawing/2014/main" id="{043C112E-8E11-3092-31E0-32108397535C}"/>
              </a:ext>
            </a:extLst>
          </p:cNvPr>
          <p:cNvSpPr txBox="1"/>
          <p:nvPr/>
        </p:nvSpPr>
        <p:spPr>
          <a:xfrm>
            <a:off x="6429944" y="1238210"/>
            <a:ext cx="2872111" cy="326937"/>
          </a:xfrm>
          <a:prstGeom prst="rect">
            <a:avLst/>
          </a:prstGeom>
          <a:noFill/>
        </p:spPr>
        <p:txBody>
          <a:bodyPr wrap="square" lIns="0" tIns="0" rIns="0" bIns="0" rtlCol="0">
            <a:noAutofit/>
          </a:bodyPr>
          <a:lstStyle/>
          <a:p>
            <a:pPr algn="l">
              <a:lnSpc>
                <a:spcPts val="1700"/>
              </a:lnSpc>
            </a:pPr>
            <a:r>
              <a:rPr lang="de-DE" sz="1100">
                <a:solidFill>
                  <a:srgbClr val="013C74"/>
                </a:solidFill>
              </a:rPr>
              <a:t>Gasspeicherstände am 23. Juni</a:t>
            </a:r>
          </a:p>
          <a:p>
            <a:pPr algn="l">
              <a:lnSpc>
                <a:spcPts val="1700"/>
              </a:lnSpc>
            </a:pPr>
            <a:r>
              <a:rPr lang="de-DE" sz="1100">
                <a:solidFill>
                  <a:srgbClr val="013C74"/>
                </a:solidFill>
              </a:rPr>
              <a:t>Süddeutschland (inkl. Österreich anteilig)</a:t>
            </a:r>
          </a:p>
        </p:txBody>
      </p:sp>
      <p:grpSp>
        <p:nvGrpSpPr>
          <p:cNvPr id="4" name="Gruppieren 3">
            <a:extLst>
              <a:ext uri="{FF2B5EF4-FFF2-40B4-BE49-F238E27FC236}">
                <a16:creationId xmlns:a16="http://schemas.microsoft.com/office/drawing/2014/main" id="{3ADB4D18-D3FD-4E8F-B6EF-562009ED12B8}"/>
              </a:ext>
            </a:extLst>
          </p:cNvPr>
          <p:cNvGrpSpPr/>
          <p:nvPr/>
        </p:nvGrpSpPr>
        <p:grpSpPr>
          <a:xfrm>
            <a:off x="206539" y="1453426"/>
            <a:ext cx="5865665" cy="1173946"/>
            <a:chOff x="206539" y="1456362"/>
            <a:chExt cx="5865665" cy="1157184"/>
          </a:xfrm>
        </p:grpSpPr>
        <p:cxnSp>
          <p:nvCxnSpPr>
            <p:cNvPr id="8" name="Gerader Verbinder 7">
              <a:extLst>
                <a:ext uri="{FF2B5EF4-FFF2-40B4-BE49-F238E27FC236}">
                  <a16:creationId xmlns:a16="http://schemas.microsoft.com/office/drawing/2014/main" id="{DB4AF430-27F9-DAB5-CA6D-166977D5A874}"/>
                </a:ext>
              </a:extLst>
            </p:cNvPr>
            <p:cNvCxnSpPr>
              <a:cxnSpLocks/>
            </p:cNvCxnSpPr>
            <p:nvPr/>
          </p:nvCxnSpPr>
          <p:spPr>
            <a:xfrm>
              <a:off x="1785551" y="2554050"/>
              <a:ext cx="3883733"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42DFEFDA-C492-7F6B-3CE3-5418FF6BCD0C}"/>
                </a:ext>
              </a:extLst>
            </p:cNvPr>
            <p:cNvCxnSpPr>
              <a:cxnSpLocks/>
            </p:cNvCxnSpPr>
            <p:nvPr/>
          </p:nvCxnSpPr>
          <p:spPr>
            <a:xfrm>
              <a:off x="1785551" y="2298679"/>
              <a:ext cx="3883733"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A8D7A3DF-0AD1-E257-DF5C-09F01497508E}"/>
                </a:ext>
              </a:extLst>
            </p:cNvPr>
            <p:cNvCxnSpPr>
              <a:cxnSpLocks/>
              <a:endCxn id="19" idx="1"/>
            </p:cNvCxnSpPr>
            <p:nvPr/>
          </p:nvCxnSpPr>
          <p:spPr>
            <a:xfrm>
              <a:off x="1785551" y="2074197"/>
              <a:ext cx="4167660"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4497ABB4-7F46-287D-58E7-E0259927B815}"/>
                </a:ext>
              </a:extLst>
            </p:cNvPr>
            <p:cNvSpPr txBox="1"/>
            <p:nvPr/>
          </p:nvSpPr>
          <p:spPr>
            <a:xfrm>
              <a:off x="206539" y="1456362"/>
              <a:ext cx="2526953" cy="970002"/>
            </a:xfrm>
            <a:prstGeom prst="rect">
              <a:avLst/>
            </a:prstGeom>
            <a:noFill/>
          </p:spPr>
          <p:txBody>
            <a:bodyPr wrap="square" lIns="0" tIns="0" rIns="0" bIns="0" rtlCol="0">
              <a:noAutofit/>
            </a:bodyPr>
            <a:lstStyle/>
            <a:p>
              <a:pPr algn="l">
                <a:lnSpc>
                  <a:spcPts val="1700"/>
                </a:lnSpc>
                <a:spcAft>
                  <a:spcPts val="1000"/>
                </a:spcAft>
              </a:pPr>
              <a:r>
                <a:rPr lang="de-DE" sz="1200" dirty="0">
                  <a:solidFill>
                    <a:schemeClr val="bg1"/>
                  </a:solidFill>
                </a:rPr>
                <a:t>Zu erreichende Speicherstände gemäß § 35b Abs. 1 EnWG:</a:t>
              </a:r>
            </a:p>
            <a:p>
              <a:pPr algn="l">
                <a:lnSpc>
                  <a:spcPts val="1100"/>
                </a:lnSpc>
                <a:spcAft>
                  <a:spcPts val="800"/>
                </a:spcAft>
              </a:pPr>
              <a:r>
                <a:rPr lang="de-DE" sz="1200" dirty="0">
                  <a:solidFill>
                    <a:schemeClr val="bg1"/>
                  </a:solidFill>
                </a:rPr>
                <a:t>90 % bis 1. Dezember </a:t>
              </a:r>
            </a:p>
            <a:p>
              <a:pPr algn="l">
                <a:lnSpc>
                  <a:spcPts val="1100"/>
                </a:lnSpc>
                <a:spcAft>
                  <a:spcPts val="800"/>
                </a:spcAft>
              </a:pPr>
              <a:r>
                <a:rPr lang="de-DE" sz="1200" dirty="0">
                  <a:solidFill>
                    <a:schemeClr val="bg1"/>
                  </a:solidFill>
                </a:rPr>
                <a:t>80 % bis 1. Oktober </a:t>
              </a:r>
            </a:p>
            <a:p>
              <a:pPr algn="l">
                <a:lnSpc>
                  <a:spcPts val="1100"/>
                </a:lnSpc>
                <a:spcAft>
                  <a:spcPts val="800"/>
                </a:spcAft>
              </a:pPr>
              <a:r>
                <a:rPr lang="de-DE" sz="1200" dirty="0">
                  <a:solidFill>
                    <a:schemeClr val="bg1"/>
                  </a:solidFill>
                </a:rPr>
                <a:t>65 % bis 1. August </a:t>
              </a:r>
            </a:p>
          </p:txBody>
        </p:sp>
        <p:pic>
          <p:nvPicPr>
            <p:cNvPr id="10" name="Grafik 9" descr="Schließen Silhouette">
              <a:extLst>
                <a:ext uri="{FF2B5EF4-FFF2-40B4-BE49-F238E27FC236}">
                  <a16:creationId xmlns:a16="http://schemas.microsoft.com/office/drawing/2014/main" id="{00DA380B-2764-45B3-B092-4CB7264F6E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17092" y="2494553"/>
              <a:ext cx="118993" cy="118993"/>
            </a:xfrm>
            <a:prstGeom prst="rect">
              <a:avLst/>
            </a:prstGeom>
          </p:spPr>
        </p:pic>
        <p:pic>
          <p:nvPicPr>
            <p:cNvPr id="17" name="Grafik 16" descr="Schließen Silhouette">
              <a:extLst>
                <a:ext uri="{FF2B5EF4-FFF2-40B4-BE49-F238E27FC236}">
                  <a16:creationId xmlns:a16="http://schemas.microsoft.com/office/drawing/2014/main" id="{C42F2B50-B8CA-4FCC-AFB3-7C1817CD98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09787" y="2239181"/>
              <a:ext cx="118993" cy="118993"/>
            </a:xfrm>
            <a:prstGeom prst="rect">
              <a:avLst/>
            </a:prstGeom>
          </p:spPr>
        </p:pic>
        <p:pic>
          <p:nvPicPr>
            <p:cNvPr id="19" name="Grafik 18" descr="Schließen Silhouette">
              <a:extLst>
                <a:ext uri="{FF2B5EF4-FFF2-40B4-BE49-F238E27FC236}">
                  <a16:creationId xmlns:a16="http://schemas.microsoft.com/office/drawing/2014/main" id="{6FD367C4-0609-4848-9C3E-5B4833DBE9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53211" y="2014702"/>
              <a:ext cx="118993" cy="118993"/>
            </a:xfrm>
            <a:prstGeom prst="rect">
              <a:avLst/>
            </a:prstGeom>
          </p:spPr>
        </p:pic>
      </p:grpSp>
      <p:sp>
        <p:nvSpPr>
          <p:cNvPr id="2" name="Titel 1">
            <a:extLst>
              <a:ext uri="{FF2B5EF4-FFF2-40B4-BE49-F238E27FC236}">
                <a16:creationId xmlns:a16="http://schemas.microsoft.com/office/drawing/2014/main" id="{583E1CCC-8CF8-47A9-B9FD-DBA84FD63548}"/>
              </a:ext>
            </a:extLst>
          </p:cNvPr>
          <p:cNvSpPr>
            <a:spLocks noGrp="1"/>
          </p:cNvSpPr>
          <p:nvPr>
            <p:ph type="title"/>
          </p:nvPr>
        </p:nvSpPr>
        <p:spPr>
          <a:xfrm>
            <a:off x="658799" y="350046"/>
            <a:ext cx="7380677" cy="396000"/>
          </a:xfrm>
        </p:spPr>
        <p:txBody>
          <a:bodyPr vert="horz"/>
          <a:lstStyle/>
          <a:p>
            <a:r>
              <a:rPr lang="de-DE" dirty="0"/>
              <a:t>Speicherstände auf niedrigem Niveau, aber steigend</a:t>
            </a:r>
          </a:p>
        </p:txBody>
      </p:sp>
      <p:pic>
        <p:nvPicPr>
          <p:cNvPr id="3076" name="Picture 4" descr="Suedspeicher">
            <a:extLst>
              <a:ext uri="{FF2B5EF4-FFF2-40B4-BE49-F238E27FC236}">
                <a16:creationId xmlns:a16="http://schemas.microsoft.com/office/drawing/2014/main" id="{CAB76CBC-0C73-874E-801C-02A378909C42}"/>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4505"/>
          <a:stretch/>
        </p:blipFill>
        <p:spPr bwMode="auto">
          <a:xfrm>
            <a:off x="6212385" y="1688070"/>
            <a:ext cx="2753025" cy="238462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1DD4A6C5-517F-FA55-11B3-88B081D29302}"/>
              </a:ext>
            </a:extLst>
          </p:cNvPr>
          <p:cNvSpPr txBox="1"/>
          <p:nvPr/>
        </p:nvSpPr>
        <p:spPr>
          <a:xfrm>
            <a:off x="2823281" y="4072689"/>
            <a:ext cx="6142129" cy="713737"/>
          </a:xfrm>
          <a:prstGeom prst="roundRect">
            <a:avLst>
              <a:gd name="adj" fmla="val 0"/>
            </a:avLst>
          </a:prstGeom>
          <a:noFill/>
          <a:ln w="38100">
            <a:solidFill>
              <a:schemeClr val="accent2"/>
            </a:solidFill>
          </a:ln>
        </p:spPr>
        <p:txBody>
          <a:bodyPr wrap="square" lIns="0" tIns="0" rIns="0" bIns="0" rtlCol="0" anchor="ctr">
            <a:noAutofit/>
          </a:bodyPr>
          <a:lstStyle/>
          <a:p>
            <a:pPr marL="575996" marR="0" lvl="1" indent="-287998" algn="l" defTabSz="68580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200" dirty="0">
                <a:solidFill>
                  <a:srgbClr val="013C74"/>
                </a:solidFill>
                <a:latin typeface="Arial" panose="020B0604020202020204"/>
              </a:rPr>
              <a:t>Gesamtspeicherstand in Deutschland: 64,6 % (Stand: 13.07.)</a:t>
            </a:r>
          </a:p>
          <a:p>
            <a:pPr marL="575996" marR="0" lvl="1" indent="-287998" algn="l" defTabSz="68580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200" dirty="0">
                <a:solidFill>
                  <a:srgbClr val="013C74"/>
                </a:solidFill>
                <a:latin typeface="Arial" panose="020B0604020202020204"/>
              </a:rPr>
              <a:t>ABER: 90 % bei Ausbleiben von Gaslieferungen über Nord Stream 1 ohne zusätzliche Maßnahmen wohl nicht erreichbar</a:t>
            </a:r>
          </a:p>
        </p:txBody>
      </p:sp>
      <p:sp>
        <p:nvSpPr>
          <p:cNvPr id="21" name="Fußzeilenplatzhalter 2">
            <a:extLst>
              <a:ext uri="{FF2B5EF4-FFF2-40B4-BE49-F238E27FC236}">
                <a16:creationId xmlns:a16="http://schemas.microsoft.com/office/drawing/2014/main" id="{1CC3F037-7B06-4A42-85AA-66EDE72E1A81}"/>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1260260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EC1D7A4C-8897-4A57-989D-0E67CD3F1714}"/>
              </a:ext>
            </a:extLst>
          </p:cNvPr>
          <p:cNvSpPr/>
          <p:nvPr/>
        </p:nvSpPr>
        <p:spPr>
          <a:xfrm>
            <a:off x="1028700" y="1028700"/>
            <a:ext cx="7223760" cy="891540"/>
          </a:xfrm>
          <a:prstGeom prst="rect">
            <a:avLst/>
          </a:prstGeom>
          <a:solidFill>
            <a:srgbClr val="FFEF18"/>
          </a:solidFill>
          <a:ln w="28575">
            <a:noFill/>
          </a:ln>
        </p:spPr>
        <p:style>
          <a:lnRef idx="2">
            <a:schemeClr val="accent4"/>
          </a:lnRef>
          <a:fillRef idx="1">
            <a:schemeClr val="lt1"/>
          </a:fillRef>
          <a:effectRef idx="0">
            <a:schemeClr val="accent4"/>
          </a:effectRef>
          <a:fontRef idx="minor">
            <a:schemeClr val="dk1"/>
          </a:fontRef>
        </p:style>
        <p:txBody>
          <a:bodyPr rtlCol="0" anchor="ctr"/>
          <a:lstStyle/>
          <a:p>
            <a:pPr algn="ctr"/>
            <a:r>
              <a:rPr lang="de-DE" dirty="0">
                <a:solidFill>
                  <a:schemeClr val="accent1"/>
                </a:solidFill>
              </a:rPr>
              <a:t>Frühwarnstufe (ausgerufen am 30.03.2022): </a:t>
            </a:r>
          </a:p>
          <a:p>
            <a:pPr algn="ctr"/>
            <a:r>
              <a:rPr lang="de-DE" sz="1400" dirty="0">
                <a:solidFill>
                  <a:schemeClr val="accent1"/>
                </a:solidFill>
              </a:rPr>
              <a:t>Monitoring, Einsetzung eines Krisenstabs im Bundeswirtschaftsministerium, keine Einschränkung in der Versorgungssicherheit, keine staatl. Eingriffe in den Gasmarkt</a:t>
            </a:r>
          </a:p>
        </p:txBody>
      </p:sp>
      <p:sp>
        <p:nvSpPr>
          <p:cNvPr id="7" name="Titel 6">
            <a:extLst>
              <a:ext uri="{FF2B5EF4-FFF2-40B4-BE49-F238E27FC236}">
                <a16:creationId xmlns:a16="http://schemas.microsoft.com/office/drawing/2014/main" id="{524A1581-3093-4CEE-A840-AA666B486D52}"/>
              </a:ext>
            </a:extLst>
          </p:cNvPr>
          <p:cNvSpPr>
            <a:spLocks noGrp="1"/>
          </p:cNvSpPr>
          <p:nvPr>
            <p:ph type="title"/>
          </p:nvPr>
        </p:nvSpPr>
        <p:spPr/>
        <p:txBody>
          <a:bodyPr/>
          <a:lstStyle/>
          <a:p>
            <a:r>
              <a:rPr lang="de-DE"/>
              <a:t>Die drei Stufen des „Notfallplan Gas“</a:t>
            </a:r>
          </a:p>
        </p:txBody>
      </p:sp>
      <p:sp>
        <p:nvSpPr>
          <p:cNvPr id="9" name="Rechteck 8">
            <a:extLst>
              <a:ext uri="{FF2B5EF4-FFF2-40B4-BE49-F238E27FC236}">
                <a16:creationId xmlns:a16="http://schemas.microsoft.com/office/drawing/2014/main" id="{12D2C5F3-52BC-486D-BEF1-0B608C31E26B}"/>
              </a:ext>
            </a:extLst>
          </p:cNvPr>
          <p:cNvSpPr/>
          <p:nvPr/>
        </p:nvSpPr>
        <p:spPr>
          <a:xfrm>
            <a:off x="1028700" y="2331721"/>
            <a:ext cx="7223760" cy="891540"/>
          </a:xfrm>
          <a:prstGeom prst="rect">
            <a:avLst/>
          </a:prstGeom>
          <a:solidFill>
            <a:srgbClr val="FFC000"/>
          </a:solidFill>
          <a:ln w="28575">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13C74"/>
                </a:solidFill>
                <a:effectLst/>
                <a:uLnTx/>
                <a:uFillTx/>
                <a:latin typeface="Arial" panose="020B0604020202020204"/>
                <a:ea typeface="+mn-ea"/>
                <a:cs typeface="+mn-cs"/>
              </a:rPr>
              <a:t>Alarmstufe (ausgerufen am 23.06.20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13C74"/>
                </a:solidFill>
                <a:effectLst/>
                <a:uLnTx/>
                <a:uFillTx/>
                <a:latin typeface="Arial" panose="020B0604020202020204"/>
                <a:ea typeface="+mn-ea"/>
                <a:cs typeface="+mn-cs"/>
              </a:rPr>
              <a:t>Weiterhin keine staatl. Eingriffe in den Gasmarkt, Fortschreitende Planung von Einschränkungen </a:t>
            </a:r>
          </a:p>
        </p:txBody>
      </p:sp>
      <p:sp>
        <p:nvSpPr>
          <p:cNvPr id="10" name="Rechteck 9">
            <a:extLst>
              <a:ext uri="{FF2B5EF4-FFF2-40B4-BE49-F238E27FC236}">
                <a16:creationId xmlns:a16="http://schemas.microsoft.com/office/drawing/2014/main" id="{E855A8CB-4C47-4609-8C8D-07D313789AB2}"/>
              </a:ext>
            </a:extLst>
          </p:cNvPr>
          <p:cNvSpPr/>
          <p:nvPr/>
        </p:nvSpPr>
        <p:spPr>
          <a:xfrm>
            <a:off x="1028700" y="3634742"/>
            <a:ext cx="7223760" cy="891540"/>
          </a:xfrm>
          <a:prstGeom prst="rect">
            <a:avLst/>
          </a:prstGeom>
          <a:solidFill>
            <a:srgbClr val="FF0000"/>
          </a:solidFill>
          <a:ln w="28575">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13C74"/>
                </a:solidFill>
                <a:effectLst/>
                <a:uLnTx/>
                <a:uFillTx/>
                <a:latin typeface="Arial" panose="020B0604020202020204"/>
                <a:ea typeface="+mn-ea"/>
                <a:cs typeface="+mn-cs"/>
              </a:rPr>
              <a:t>Notfallstufe:</a:t>
            </a:r>
          </a:p>
          <a:p>
            <a:pPr marL="0" marR="0" lvl="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accent1"/>
                </a:solidFill>
              </a:rPr>
              <a:t>BNetzA wird Bundeslastverteiler und übernimmt in enger Abstimmung mit den Netzbetreibern die Verteilung von Gas.</a:t>
            </a:r>
            <a:endParaRPr kumimoji="0" lang="de-DE" sz="14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6" name="Fußzeilenplatzhalter 2">
            <a:extLst>
              <a:ext uri="{FF2B5EF4-FFF2-40B4-BE49-F238E27FC236}">
                <a16:creationId xmlns:a16="http://schemas.microsoft.com/office/drawing/2014/main" id="{3357D073-3556-46A3-9934-6B36236A9AE9}"/>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
        <p:nvSpPr>
          <p:cNvPr id="2" name="Foliennummernplatzhalter 1">
            <a:extLst>
              <a:ext uri="{FF2B5EF4-FFF2-40B4-BE49-F238E27FC236}">
                <a16:creationId xmlns:a16="http://schemas.microsoft.com/office/drawing/2014/main" id="{6AB43DC7-220F-4BDB-8A6D-3C143979E474}"/>
              </a:ext>
            </a:extLst>
          </p:cNvPr>
          <p:cNvSpPr>
            <a:spLocks noGrp="1"/>
          </p:cNvSpPr>
          <p:nvPr>
            <p:ph type="sldNum" sz="quarter" idx="12"/>
          </p:nvPr>
        </p:nvSpPr>
        <p:spPr/>
        <p:txBody>
          <a:bodyPr/>
          <a:lstStyle/>
          <a:p>
            <a:fld id="{2B28B3E2-BA40-4815-B230-D28A7A80ABF0}" type="slidenum">
              <a:rPr lang="de-DE" smtClean="0"/>
              <a:t>7</a:t>
            </a:fld>
            <a:endParaRPr lang="de-DE"/>
          </a:p>
        </p:txBody>
      </p:sp>
      <p:sp>
        <p:nvSpPr>
          <p:cNvPr id="3" name="Pfeil: nach rechts 2">
            <a:extLst>
              <a:ext uri="{FF2B5EF4-FFF2-40B4-BE49-F238E27FC236}">
                <a16:creationId xmlns:a16="http://schemas.microsoft.com/office/drawing/2014/main" id="{47E105AC-EA02-6875-2D73-28DC5AB05BA6}"/>
              </a:ext>
            </a:extLst>
          </p:cNvPr>
          <p:cNvSpPr/>
          <p:nvPr/>
        </p:nvSpPr>
        <p:spPr>
          <a:xfrm>
            <a:off x="814920" y="2509732"/>
            <a:ext cx="596900" cy="535517"/>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7692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D3CE0D-CBE0-3635-B49E-B16F96807C9C}"/>
              </a:ext>
            </a:extLst>
          </p:cNvPr>
          <p:cNvSpPr>
            <a:spLocks noGrp="1"/>
          </p:cNvSpPr>
          <p:nvPr>
            <p:ph type="title"/>
          </p:nvPr>
        </p:nvSpPr>
        <p:spPr>
          <a:xfrm>
            <a:off x="658800" y="234900"/>
            <a:ext cx="7207200" cy="396000"/>
          </a:xfrm>
        </p:spPr>
        <p:txBody>
          <a:bodyPr/>
          <a:lstStyle/>
          <a:p>
            <a:r>
              <a:rPr lang="de-DE" dirty="0"/>
              <a:t>Bedeutung der Alarmstufe und potentielle Gasmangellage</a:t>
            </a:r>
            <a:endParaRPr lang="en-US" dirty="0"/>
          </a:p>
        </p:txBody>
      </p:sp>
      <p:sp>
        <p:nvSpPr>
          <p:cNvPr id="3" name="Inhaltsplatzhalter 2">
            <a:extLst>
              <a:ext uri="{FF2B5EF4-FFF2-40B4-BE49-F238E27FC236}">
                <a16:creationId xmlns:a16="http://schemas.microsoft.com/office/drawing/2014/main" id="{685D0425-3A8D-7924-20DC-B7F551DE5BA6}"/>
              </a:ext>
            </a:extLst>
          </p:cNvPr>
          <p:cNvSpPr>
            <a:spLocks noGrp="1"/>
          </p:cNvSpPr>
          <p:nvPr>
            <p:ph idx="1"/>
          </p:nvPr>
        </p:nvSpPr>
        <p:spPr>
          <a:xfrm>
            <a:off x="658801" y="1100666"/>
            <a:ext cx="7484400" cy="3482133"/>
          </a:xfrm>
        </p:spPr>
        <p:txBody>
          <a:bodyPr/>
          <a:lstStyle/>
          <a:p>
            <a:pPr marL="0" indent="0" algn="just">
              <a:buNone/>
            </a:pPr>
            <a:r>
              <a:rPr lang="de-DE" i="1" dirty="0"/>
              <a:t>„Die Alarmstufe tritt in Kraft, wenn eine </a:t>
            </a:r>
            <a:r>
              <a:rPr lang="de-DE" b="1" i="1" dirty="0"/>
              <a:t>Störung der Gasversorgung oder eine außergewöhnlich hohe Nachfrage nach Gas </a:t>
            </a:r>
            <a:r>
              <a:rPr lang="de-DE" i="1" dirty="0"/>
              <a:t>vorliegt, die zu einer erheblichen Verschlechterung der Gasversorgungslage führt. Der Markt ist aber noch in der Lage, diese Störung oder Nachfrage alleine zu bewältigen.“</a:t>
            </a:r>
          </a:p>
          <a:p>
            <a:pPr lvl="1">
              <a:buFont typeface="Wingdings" panose="05000000000000000000" pitchFamily="2" charset="2"/>
              <a:buChar char="à"/>
            </a:pPr>
            <a:r>
              <a:rPr lang="de-DE" dirty="0">
                <a:sym typeface="Wingdings" panose="05000000000000000000" pitchFamily="2" charset="2"/>
              </a:rPr>
              <a:t>Durch die Einschränkungen auf der Nord Stream 1 ist diese Situation gegeben</a:t>
            </a:r>
            <a:endParaRPr lang="de-DE" i="1" dirty="0"/>
          </a:p>
          <a:p>
            <a:pPr marL="0" indent="0">
              <a:buNone/>
            </a:pPr>
            <a:r>
              <a:rPr lang="de-DE" b="1" dirty="0"/>
              <a:t>Bundesregierung und Bundesnetzagentur haben verschiedene Szenarien zur Entwicklung des Gasmengengerüstes in Deutschland berechnet; in 3 von 7 Szenarien kommt es im Winter zu einer Gasmangellage</a:t>
            </a:r>
          </a:p>
          <a:p>
            <a:pPr lvl="1">
              <a:buFont typeface="Wingdings" panose="05000000000000000000" pitchFamily="2" charset="2"/>
              <a:buChar char="à"/>
            </a:pPr>
            <a:r>
              <a:rPr lang="de-DE" dirty="0"/>
              <a:t>Szenario 1.2: Gasmangel ab Anfang Februar; Gasdefizit im Winter: 19 TWh</a:t>
            </a:r>
          </a:p>
          <a:p>
            <a:pPr lvl="1">
              <a:buFont typeface="Wingdings" panose="05000000000000000000" pitchFamily="2" charset="2"/>
              <a:buChar char="à"/>
            </a:pPr>
            <a:r>
              <a:rPr lang="de-DE" dirty="0"/>
              <a:t>Szenario 2.2: Gasmangel ab Mitte Dezember; Gasdefizit im Winter: 107 TWh (10% des Jahresverbrauchs)</a:t>
            </a:r>
          </a:p>
          <a:p>
            <a:pPr lvl="1">
              <a:buFont typeface="Wingdings" panose="05000000000000000000" pitchFamily="2" charset="2"/>
              <a:buChar char="à"/>
            </a:pPr>
            <a:r>
              <a:rPr lang="de-DE" dirty="0"/>
              <a:t>Szenario 2.2.1: Gasmangel ab Mitte Januar; Gasdefizit im Winter: 44 TWh </a:t>
            </a:r>
          </a:p>
          <a:p>
            <a:pPr lvl="2">
              <a:buFont typeface="Wingdings" panose="05000000000000000000" pitchFamily="2" charset="2"/>
              <a:buChar char="à"/>
            </a:pPr>
            <a:endParaRPr lang="de-DE" dirty="0"/>
          </a:p>
          <a:p>
            <a:pPr lvl="1"/>
            <a:endParaRPr lang="de-DE" b="1" dirty="0"/>
          </a:p>
        </p:txBody>
      </p:sp>
      <p:sp>
        <p:nvSpPr>
          <p:cNvPr id="5" name="Foliennummernplatzhalter 4">
            <a:extLst>
              <a:ext uri="{FF2B5EF4-FFF2-40B4-BE49-F238E27FC236}">
                <a16:creationId xmlns:a16="http://schemas.microsoft.com/office/drawing/2014/main" id="{04B617D3-62C1-DEAA-717A-00F439CA38BA}"/>
              </a:ext>
            </a:extLst>
          </p:cNvPr>
          <p:cNvSpPr>
            <a:spLocks noGrp="1"/>
          </p:cNvSpPr>
          <p:nvPr>
            <p:ph type="sldNum" sz="quarter" idx="12"/>
          </p:nvPr>
        </p:nvSpPr>
        <p:spPr/>
        <p:txBody>
          <a:bodyPr/>
          <a:lstStyle/>
          <a:p>
            <a:fld id="{2B28B3E2-BA40-4815-B230-D28A7A80ABF0}" type="slidenum">
              <a:rPr lang="de-DE" smtClean="0"/>
              <a:t>8</a:t>
            </a:fld>
            <a:endParaRPr lang="de-DE"/>
          </a:p>
        </p:txBody>
      </p:sp>
      <p:sp>
        <p:nvSpPr>
          <p:cNvPr id="8" name="Fußzeilenplatzhalter 2">
            <a:extLst>
              <a:ext uri="{FF2B5EF4-FFF2-40B4-BE49-F238E27FC236}">
                <a16:creationId xmlns:a16="http://schemas.microsoft.com/office/drawing/2014/main" id="{21FC4ADC-F176-4052-9632-261F3F6C7CB6}"/>
              </a:ext>
            </a:extLst>
          </p:cNvPr>
          <p:cNvSpPr>
            <a:spLocks noGrp="1"/>
          </p:cNvSpPr>
          <p:nvPr>
            <p:ph type="ftr" sz="quarter" idx="11"/>
          </p:nvPr>
        </p:nvSpPr>
        <p:spPr>
          <a:xfrm>
            <a:off x="4440382" y="4800600"/>
            <a:ext cx="3425618" cy="108000"/>
          </a:xfrm>
        </p:spPr>
        <p:txBody>
          <a:bodyPr/>
          <a:lstStyle/>
          <a:p>
            <a:r>
              <a:rPr lang="de-DE" dirty="0"/>
              <a:t>IBE Vortragsabend / 14. Juli 2022</a:t>
            </a:r>
          </a:p>
        </p:txBody>
      </p:sp>
    </p:spTree>
    <p:extLst>
      <p:ext uri="{BB962C8B-B14F-4D97-AF65-F5344CB8AC3E}">
        <p14:creationId xmlns:p14="http://schemas.microsoft.com/office/powerpoint/2010/main" val="1025958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46F8B1-6287-45D8-8301-F2C38F3E90E8}"/>
              </a:ext>
            </a:extLst>
          </p:cNvPr>
          <p:cNvSpPr>
            <a:spLocks noGrp="1"/>
          </p:cNvSpPr>
          <p:nvPr>
            <p:ph type="title"/>
          </p:nvPr>
        </p:nvSpPr>
        <p:spPr/>
        <p:txBody>
          <a:bodyPr/>
          <a:lstStyle/>
          <a:p>
            <a:r>
              <a:rPr lang="de-DE" dirty="0"/>
              <a:t>Notfallstufe – abhängig von Nord Stream 1 </a:t>
            </a:r>
          </a:p>
        </p:txBody>
      </p:sp>
      <p:sp>
        <p:nvSpPr>
          <p:cNvPr id="3" name="Inhaltsplatzhalter 2">
            <a:extLst>
              <a:ext uri="{FF2B5EF4-FFF2-40B4-BE49-F238E27FC236}">
                <a16:creationId xmlns:a16="http://schemas.microsoft.com/office/drawing/2014/main" id="{2FE70E21-6E67-4078-BC21-72680EDBCBB7}"/>
              </a:ext>
            </a:extLst>
          </p:cNvPr>
          <p:cNvSpPr>
            <a:spLocks noGrp="1"/>
          </p:cNvSpPr>
          <p:nvPr>
            <p:ph idx="1"/>
          </p:nvPr>
        </p:nvSpPr>
        <p:spPr/>
        <p:txBody>
          <a:bodyPr/>
          <a:lstStyle/>
          <a:p>
            <a:pPr marL="0" indent="0">
              <a:buNone/>
            </a:pPr>
            <a:r>
              <a:rPr lang="de-DE" b="1" dirty="0"/>
              <a:t>Der Bundeslastverteiler hat in einer Gasmangellage die Aufgabe, den lebenswichtigen Bedarf an Gas zu decken (§ 1 </a:t>
            </a:r>
            <a:r>
              <a:rPr lang="de-DE" b="1" dirty="0" err="1"/>
              <a:t>EnSiG</a:t>
            </a:r>
            <a:r>
              <a:rPr lang="de-DE" b="1" dirty="0"/>
              <a:t>, § 1 GasSV). </a:t>
            </a:r>
          </a:p>
          <a:p>
            <a:pPr lvl="1">
              <a:buFont typeface="Wingdings" panose="05000000000000000000" pitchFamily="2" charset="2"/>
              <a:buChar char="§"/>
            </a:pPr>
            <a:r>
              <a:rPr lang="de-DE" dirty="0"/>
              <a:t>Praktisch besteht die Aufgabe des Bundeslastverteilers darin, Gasmengen zu beschaffen, die wie positive Regelleistung wirken. </a:t>
            </a:r>
          </a:p>
          <a:p>
            <a:pPr marL="0" indent="0">
              <a:buNone/>
            </a:pPr>
            <a:r>
              <a:rPr lang="de-DE" b="1" dirty="0"/>
              <a:t>Perspektivische Abwägungskriterien</a:t>
            </a:r>
            <a:r>
              <a:rPr lang="de-DE" dirty="0"/>
              <a:t>:</a:t>
            </a:r>
          </a:p>
          <a:p>
            <a:pPr lvl="1">
              <a:buFont typeface="Wingdings" panose="05000000000000000000" pitchFamily="2" charset="2"/>
              <a:buChar char="§"/>
            </a:pPr>
            <a:r>
              <a:rPr lang="de-DE" dirty="0"/>
              <a:t>Dringlichkeit der Maßnahme, insb. in Abhängigkeit der Gasmangelsituation </a:t>
            </a:r>
          </a:p>
          <a:p>
            <a:pPr lvl="1">
              <a:buFont typeface="Wingdings" panose="05000000000000000000" pitchFamily="2" charset="2"/>
              <a:buChar char="§"/>
            </a:pPr>
            <a:r>
              <a:rPr lang="de-DE" dirty="0"/>
              <a:t>Anlagengröße, deren </a:t>
            </a:r>
            <a:r>
              <a:rPr lang="de-DE" dirty="0" err="1"/>
              <a:t>Gasbezug</a:t>
            </a:r>
            <a:r>
              <a:rPr lang="de-DE" dirty="0"/>
              <a:t> und somit die Wirkung einer Gasversorgungsreduktion</a:t>
            </a:r>
          </a:p>
          <a:p>
            <a:pPr lvl="1">
              <a:buFont typeface="Wingdings" panose="05000000000000000000" pitchFamily="2" charset="2"/>
              <a:buChar char="§"/>
            </a:pPr>
            <a:r>
              <a:rPr lang="de-DE" dirty="0"/>
              <a:t>Vorlaufzeit zur Gasbezugsreduktion bzw. eines geordneten Herunterfahrens der Produktionsanlagen bzw. benötigte Vorlaufzeit zur Anpassung der Produktionsketten an einen verminderten Bezug </a:t>
            </a:r>
          </a:p>
          <a:p>
            <a:pPr lvl="1">
              <a:buFont typeface="Wingdings" panose="05000000000000000000" pitchFamily="2" charset="2"/>
              <a:buChar char="§"/>
            </a:pPr>
            <a:r>
              <a:rPr lang="de-DE" dirty="0"/>
              <a:t>Zu erwartende (volks-/betriebs-) wirtschaftliche Schäden </a:t>
            </a:r>
          </a:p>
          <a:p>
            <a:pPr lvl="1">
              <a:buFont typeface="Wingdings" panose="05000000000000000000" pitchFamily="2" charset="2"/>
              <a:buChar char="§"/>
            </a:pPr>
            <a:r>
              <a:rPr lang="de-DE" dirty="0"/>
              <a:t>Kosten und Dauer der Wiederinbetriebnahme nach einer Gasversorgungsreduktion, sofern möglich </a:t>
            </a:r>
          </a:p>
          <a:p>
            <a:pPr lvl="1">
              <a:buFont typeface="Wingdings" panose="05000000000000000000" pitchFamily="2" charset="2"/>
              <a:buChar char="§"/>
            </a:pPr>
            <a:r>
              <a:rPr lang="de-DE" dirty="0"/>
              <a:t>Bedeutung für die Versorgung der Allgemeinheit</a:t>
            </a:r>
          </a:p>
        </p:txBody>
      </p:sp>
      <p:sp>
        <p:nvSpPr>
          <p:cNvPr id="4" name="Foliennummernplatzhalter 3">
            <a:extLst>
              <a:ext uri="{FF2B5EF4-FFF2-40B4-BE49-F238E27FC236}">
                <a16:creationId xmlns:a16="http://schemas.microsoft.com/office/drawing/2014/main" id="{BDED1D2A-3FB6-4480-81F0-996E480CB887}"/>
              </a:ext>
            </a:extLst>
          </p:cNvPr>
          <p:cNvSpPr>
            <a:spLocks noGrp="1"/>
          </p:cNvSpPr>
          <p:nvPr>
            <p:ph type="sldNum" sz="quarter" idx="12"/>
          </p:nvPr>
        </p:nvSpPr>
        <p:spPr/>
        <p:txBody>
          <a:bodyPr/>
          <a:lstStyle/>
          <a:p>
            <a:fld id="{2B28B3E2-BA40-4815-B230-D28A7A80ABF0}" type="slidenum">
              <a:rPr lang="de-DE" smtClean="0"/>
              <a:t>9</a:t>
            </a:fld>
            <a:endParaRPr lang="de-DE"/>
          </a:p>
        </p:txBody>
      </p:sp>
    </p:spTree>
    <p:extLst>
      <p:ext uri="{BB962C8B-B14F-4D97-AF65-F5344CB8AC3E}">
        <p14:creationId xmlns:p14="http://schemas.microsoft.com/office/powerpoint/2010/main" val="384480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ASIS" val="OGEVorlage"/>
  <p:tag name="VERSION" val="4.0"/>
  <p:tag name="BU" val="Open Grid Europe GmbH"/>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GE_16x9">
  <a:themeElements>
    <a:clrScheme name="OGE_1">
      <a:dk1>
        <a:srgbClr val="000000"/>
      </a:dk1>
      <a:lt1>
        <a:srgbClr val="FFFFFF"/>
      </a:lt1>
      <a:dk2>
        <a:srgbClr val="000000"/>
      </a:dk2>
      <a:lt2>
        <a:srgbClr val="FFFFFF"/>
      </a:lt2>
      <a:accent1>
        <a:srgbClr val="013C74"/>
      </a:accent1>
      <a:accent2>
        <a:srgbClr val="007CBE"/>
      </a:accent2>
      <a:accent3>
        <a:srgbClr val="058E9B"/>
      </a:accent3>
      <a:accent4>
        <a:srgbClr val="52A436"/>
      </a:accent4>
      <a:accent5>
        <a:srgbClr val="D01D74"/>
      </a:accent5>
      <a:accent6>
        <a:srgbClr val="FFEF18"/>
      </a:accent6>
      <a:hlink>
        <a:srgbClr val="007CBE"/>
      </a:hlink>
      <a:folHlink>
        <a:srgbClr val="E355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noAutofit/>
      </a:bodyPr>
      <a:lstStyle>
        <a:defPPr algn="l">
          <a:lnSpc>
            <a:spcPts val="1700"/>
          </a:lnSpc>
          <a:spcAft>
            <a:spcPts val="800"/>
          </a:spcAft>
          <a:defRPr sz="1400" dirty="0" err="1" smtClean="0">
            <a:solidFill>
              <a:srgbClr val="013C74"/>
            </a:solidFill>
          </a:defRPr>
        </a:defPPr>
      </a:lstStyle>
    </a:txDef>
  </a:objectDefaults>
  <a:extraClrSchemeLst>
    <a:extraClrScheme>
      <a:clrScheme name="OGE_1">
        <a:dk1>
          <a:srgbClr val="000000"/>
        </a:dk1>
        <a:lt1>
          <a:srgbClr val="FFFFFF"/>
        </a:lt1>
        <a:dk2>
          <a:srgbClr val="000000"/>
        </a:dk2>
        <a:lt2>
          <a:srgbClr val="FFFFFF"/>
        </a:lt2>
        <a:accent1>
          <a:srgbClr val="013C74"/>
        </a:accent1>
        <a:accent2>
          <a:srgbClr val="007CBE"/>
        </a:accent2>
        <a:accent3>
          <a:srgbClr val="058E9B"/>
        </a:accent3>
        <a:accent4>
          <a:srgbClr val="52A436"/>
        </a:accent4>
        <a:accent5>
          <a:srgbClr val="D01D74"/>
        </a:accent5>
        <a:accent6>
          <a:srgbClr val="FFEF18"/>
        </a:accent6>
        <a:hlink>
          <a:srgbClr val="007CBE"/>
        </a:hlink>
        <a:folHlink>
          <a:srgbClr val="E3558F"/>
        </a:folHlink>
      </a:clrScheme>
      <a:clrMap bg1="lt1" tx1="dk1" bg2="lt2" tx2="dk2" accent1="accent1" accent2="accent2" accent3="accent3" accent4="accent4" accent5="accent5" accent6="accent6" hlink="hlink" folHlink="folHlink"/>
    </a:extraClrScheme>
    <a:extraClrScheme>
      <a:clrScheme name="OGE_2">
        <a:dk1>
          <a:srgbClr val="000000"/>
        </a:dk1>
        <a:lt1>
          <a:srgbClr val="FFFFFF"/>
        </a:lt1>
        <a:dk2>
          <a:srgbClr val="000000"/>
        </a:dk2>
        <a:lt2>
          <a:srgbClr val="FFFFFF"/>
        </a:lt2>
        <a:accent1>
          <a:srgbClr val="013C74"/>
        </a:accent1>
        <a:accent2>
          <a:srgbClr val="007CBE"/>
        </a:accent2>
        <a:accent3>
          <a:srgbClr val="2CA4D9"/>
        </a:accent3>
        <a:accent4>
          <a:srgbClr val="82C5EB"/>
        </a:accent4>
        <a:accent5>
          <a:srgbClr val="C9E8FB"/>
        </a:accent5>
        <a:accent6>
          <a:srgbClr val="FFEF18"/>
        </a:accent6>
        <a:hlink>
          <a:srgbClr val="058E9B"/>
        </a:hlink>
        <a:folHlink>
          <a:srgbClr val="D01D74"/>
        </a:folHlink>
      </a:clrScheme>
      <a:clrMap bg1="lt1" tx1="dk1" bg2="lt2" tx2="dk2" accent1="accent1" accent2="accent2" accent3="accent3" accent4="accent4" accent5="accent5" accent6="accent6" hlink="hlink" folHlink="folHlink"/>
    </a:extraClrScheme>
    <a:extraClrScheme>
      <a:clrScheme name="OGE_3">
        <a:dk1>
          <a:srgbClr val="000000"/>
        </a:dk1>
        <a:lt1>
          <a:srgbClr val="FFFFFF"/>
        </a:lt1>
        <a:dk2>
          <a:srgbClr val="000000"/>
        </a:dk2>
        <a:lt2>
          <a:srgbClr val="FFFFFF"/>
        </a:lt2>
        <a:accent1>
          <a:srgbClr val="013C74"/>
        </a:accent1>
        <a:accent2>
          <a:srgbClr val="007CBE"/>
        </a:accent2>
        <a:accent3>
          <a:srgbClr val="2CA4D9"/>
        </a:accent3>
        <a:accent4>
          <a:srgbClr val="82C5EB"/>
        </a:accent4>
        <a:accent5>
          <a:srgbClr val="D01D74"/>
        </a:accent5>
        <a:accent6>
          <a:srgbClr val="95BD34"/>
        </a:accent6>
        <a:hlink>
          <a:srgbClr val="058E9B"/>
        </a:hlink>
        <a:folHlink>
          <a:srgbClr val="D01D74"/>
        </a:folHlink>
      </a:clrScheme>
      <a:clrMap bg1="lt1" tx1="dk1" bg2="lt2" tx2="dk2" accent1="accent1" accent2="accent2" accent3="accent3" accent4="accent4" accent5="accent5" accent6="accent6" hlink="hlink" folHlink="folHlink"/>
    </a:extraClrScheme>
    <a:extraClrScheme>
      <a:clrScheme name="OGE_4">
        <a:dk1>
          <a:srgbClr val="000000"/>
        </a:dk1>
        <a:lt1>
          <a:srgbClr val="FFFFFF"/>
        </a:lt1>
        <a:dk2>
          <a:srgbClr val="000000"/>
        </a:dk2>
        <a:lt2>
          <a:srgbClr val="FFFFFF"/>
        </a:lt2>
        <a:accent1>
          <a:srgbClr val="013C74"/>
        </a:accent1>
        <a:accent2>
          <a:srgbClr val="007CBE"/>
        </a:accent2>
        <a:accent3>
          <a:srgbClr val="2CA4D9"/>
        </a:accent3>
        <a:accent4>
          <a:srgbClr val="52A436"/>
        </a:accent4>
        <a:accent5>
          <a:srgbClr val="95BD34"/>
        </a:accent5>
        <a:accent6>
          <a:srgbClr val="CED848"/>
        </a:accent6>
        <a:hlink>
          <a:srgbClr val="058E9B"/>
        </a:hlink>
        <a:folHlink>
          <a:srgbClr val="D01D74"/>
        </a:folHlink>
      </a:clrScheme>
      <a:clrMap bg1="lt1" tx1="dk1" bg2="lt2" tx2="dk2" accent1="accent1" accent2="accent2" accent3="accent3" accent4="accent4" accent5="accent5" accent6="accent6" hlink="hlink" folHlink="folHlink"/>
    </a:extraClrScheme>
    <a:extraClrScheme>
      <a:clrScheme name="OGE_5">
        <a:dk1>
          <a:srgbClr val="000000"/>
        </a:dk1>
        <a:lt1>
          <a:srgbClr val="FFFFFF"/>
        </a:lt1>
        <a:dk2>
          <a:srgbClr val="000000"/>
        </a:dk2>
        <a:lt2>
          <a:srgbClr val="FFFFFF"/>
        </a:lt2>
        <a:accent1>
          <a:srgbClr val="013C74"/>
        </a:accent1>
        <a:accent2>
          <a:srgbClr val="007CBE"/>
        </a:accent2>
        <a:accent3>
          <a:srgbClr val="52A436"/>
        </a:accent3>
        <a:accent4>
          <a:srgbClr val="D01D74"/>
        </a:accent4>
        <a:accent5>
          <a:srgbClr val="35AEB5"/>
        </a:accent5>
        <a:accent6>
          <a:srgbClr val="FFEF18"/>
        </a:accent6>
        <a:hlink>
          <a:srgbClr val="058E9B"/>
        </a:hlink>
        <a:folHlink>
          <a:srgbClr val="D01D74"/>
        </a:folHlink>
      </a:clrScheme>
      <a:clrMap bg1="lt1" tx1="dk1" bg2="lt2" tx2="dk2" accent1="accent1" accent2="accent2" accent3="accent3" accent4="accent4" accent5="accent5" accent6="accent6" hlink="hlink" folHlink="folHlink"/>
    </a:extraClrScheme>
  </a:extraClrSchemeLst>
  <a:custClrLst>
    <a:custClr>
      <a:srgbClr val="FFFFFF"/>
    </a:custClr>
    <a:custClr>
      <a:srgbClr val="FFFFFF"/>
    </a:custClr>
    <a:custClr>
      <a:srgbClr val="FFFFFF"/>
    </a:custClr>
    <a:custClr>
      <a:srgbClr val="FFFFFF"/>
    </a:custClr>
    <a:custClr>
      <a:srgbClr val="FFFFFF"/>
    </a:custClr>
    <a:custClr>
      <a:srgbClr val="013C74"/>
    </a:custClr>
    <a:custClr>
      <a:srgbClr val="007CBE"/>
    </a:custClr>
    <a:custClr>
      <a:srgbClr val="2CA4D9"/>
    </a:custClr>
    <a:custClr>
      <a:srgbClr val="82C5EB"/>
    </a:custClr>
    <a:custClr>
      <a:srgbClr val="C9E8FB"/>
    </a:custClr>
    <a:custClr>
      <a:srgbClr val="FFFFFF"/>
    </a:custClr>
    <a:custClr>
      <a:srgbClr val="FFFFFF"/>
    </a:custClr>
    <a:custClr>
      <a:srgbClr val="FFFFFF"/>
    </a:custClr>
    <a:custClr>
      <a:srgbClr val="FFFFFF"/>
    </a:custClr>
    <a:custClr>
      <a:srgbClr val="FFFFFF"/>
    </a:custClr>
    <a:custClr>
      <a:srgbClr val="FFFFFF"/>
    </a:custClr>
    <a:custClr>
      <a:srgbClr val="058E9B"/>
    </a:custClr>
    <a:custClr>
      <a:srgbClr val="35AEB5"/>
    </a:custClr>
    <a:custClr>
      <a:srgbClr val="76C7C9"/>
    </a:custClr>
    <a:custClr>
      <a:srgbClr val="D2EAE6"/>
    </a:custClr>
    <a:custClr>
      <a:srgbClr val="FFFFFF"/>
    </a:custClr>
    <a:custClr>
      <a:srgbClr val="FFFFFF"/>
    </a:custClr>
    <a:custClr>
      <a:srgbClr val="FFFFFF"/>
    </a:custClr>
    <a:custClr>
      <a:srgbClr val="FFFFFF"/>
    </a:custClr>
    <a:custClr>
      <a:srgbClr val="FFFFFF"/>
    </a:custClr>
    <a:custClr>
      <a:srgbClr val="FFEF18"/>
    </a:custClr>
    <a:custClr>
      <a:srgbClr val="52A436"/>
    </a:custClr>
    <a:custClr>
      <a:srgbClr val="95BD34"/>
    </a:custClr>
    <a:custClr>
      <a:srgbClr val="CED848"/>
    </a:custClr>
    <a:custClr>
      <a:srgbClr val="F0EFA9"/>
    </a:custClr>
    <a:custClr>
      <a:srgbClr val="FFFFFF"/>
    </a:custClr>
    <a:custClr>
      <a:srgbClr val="FFFFFF"/>
    </a:custClr>
    <a:custClr>
      <a:srgbClr val="FFFFFF"/>
    </a:custClr>
    <a:custClr>
      <a:srgbClr val="FF0000"/>
    </a:custClr>
    <a:custClr>
      <a:srgbClr val="000000"/>
    </a:custClr>
    <a:custClr>
      <a:srgbClr val="FFFFFF"/>
    </a:custClr>
    <a:custClr>
      <a:srgbClr val="D01D74"/>
    </a:custClr>
    <a:custClr>
      <a:srgbClr val="E3558F"/>
    </a:custClr>
    <a:custClr>
      <a:srgbClr val="EA7EAB"/>
    </a:custClr>
    <a:custClr>
      <a:srgbClr val="F9D4E6"/>
    </a:custClr>
  </a:custClrLst>
  <a:extLst>
    <a:ext uri="{05A4C25C-085E-4340-85A3-A5531E510DB2}">
      <thm15:themeFamily xmlns:thm15="http://schemas.microsoft.com/office/thememl/2012/main" name="OGE_16x9.potx" id="{674C631B-BA36-4E25-9F1F-5F20EBB83B6C}" vid="{5692C90C-61BB-42EF-B473-570D7B564DF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f6623b7-4bbf-413c-82ca-00185dcb782c">
      <UserInfo>
        <DisplayName>von Kopp-Colomb, Henrich</DisplayName>
        <AccountId>28</AccountId>
        <AccountType/>
      </UserInfo>
      <UserInfo>
        <DisplayName>Brandin, Gunnar Dr.</DisplayName>
        <AccountId>1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827EF2DCFEFD664D9AFE0CC606E61C95" ma:contentTypeVersion="9" ma:contentTypeDescription="Ein neues Dokument erstellen." ma:contentTypeScope="" ma:versionID="509a37e6419eb3eabbb4c93bc5492937">
  <xsd:schema xmlns:xsd="http://www.w3.org/2001/XMLSchema" xmlns:xs="http://www.w3.org/2001/XMLSchema" xmlns:p="http://schemas.microsoft.com/office/2006/metadata/properties" xmlns:ns2="d4221c13-e539-428d-974f-f0a2f3dbbb07" xmlns:ns3="0f6623b7-4bbf-413c-82ca-00185dcb782c" targetNamespace="http://schemas.microsoft.com/office/2006/metadata/properties" ma:root="true" ma:fieldsID="e23d5b233a82d7221dfed46e5941174d" ns2:_="" ns3:_="">
    <xsd:import namespace="d4221c13-e539-428d-974f-f0a2f3dbbb07"/>
    <xsd:import namespace="0f6623b7-4bbf-413c-82ca-00185dcb782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221c13-e539-428d-974f-f0a2f3dbbb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6623b7-4bbf-413c-82ca-00185dcb782c"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B658D4-E083-4161-BB34-15266F6FE760}">
  <ds:schemaRefs>
    <ds:schemaRef ds:uri="http://schemas.microsoft.com/sharepoint/v3/contenttype/forms"/>
  </ds:schemaRefs>
</ds:datastoreItem>
</file>

<file path=customXml/itemProps2.xml><?xml version="1.0" encoding="utf-8"?>
<ds:datastoreItem xmlns:ds="http://schemas.openxmlformats.org/officeDocument/2006/customXml" ds:itemID="{F0BA905D-1016-48AC-97E1-4602F7639052}">
  <ds:schemaRefs>
    <ds:schemaRef ds:uri="http://schemas.microsoft.com/office/2006/metadata/properties"/>
    <ds:schemaRef ds:uri="d4221c13-e539-428d-974f-f0a2f3dbbb0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0f6623b7-4bbf-413c-82ca-00185dcb782c"/>
    <ds:schemaRef ds:uri="http://www.w3.org/XML/1998/namespace"/>
    <ds:schemaRef ds:uri="http://purl.org/dc/dcmitype/"/>
  </ds:schemaRefs>
</ds:datastoreItem>
</file>

<file path=customXml/itemProps3.xml><?xml version="1.0" encoding="utf-8"?>
<ds:datastoreItem xmlns:ds="http://schemas.openxmlformats.org/officeDocument/2006/customXml" ds:itemID="{E093F083-18B1-4E47-A01C-374E4CBED5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221c13-e539-428d-974f-f0a2f3dbbb07"/>
    <ds:schemaRef ds:uri="0f6623b7-4bbf-413c-82ca-00185dcb78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617</Words>
  <Application>Microsoft Office PowerPoint</Application>
  <PresentationFormat>Bildschirmpräsentation (16:9)</PresentationFormat>
  <Paragraphs>228</Paragraphs>
  <Slides>22</Slides>
  <Notes>22</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2</vt:i4>
      </vt:variant>
    </vt:vector>
  </HeadingPairs>
  <TitlesOfParts>
    <vt:vector size="27" baseType="lpstr">
      <vt:lpstr>Arial</vt:lpstr>
      <vt:lpstr>Calibri</vt:lpstr>
      <vt:lpstr>Wingdings</vt:lpstr>
      <vt:lpstr>OGE_16x9</vt:lpstr>
      <vt:lpstr>think-cell Folie</vt:lpstr>
      <vt:lpstr>Weg vom russischen Gas, mit schnellem Infrastrukturausbau –  am Beispiel der Anschlussleitung zum LNG-Terminal Wilhelmshaven</vt:lpstr>
      <vt:lpstr>Agenda</vt:lpstr>
      <vt:lpstr>Auswirkungen des Angriffskriegs auf den deutschen Gasmarkt</vt:lpstr>
      <vt:lpstr>Übersicht Erdgasnetz Norddeutschland </vt:lpstr>
      <vt:lpstr>Derzeitige Importsituation</vt:lpstr>
      <vt:lpstr>Speicherstände auf niedrigem Niveau, aber steigend</vt:lpstr>
      <vt:lpstr>Die drei Stufen des „Notfallplan Gas“</vt:lpstr>
      <vt:lpstr>Bedeutung der Alarmstufe und potentielle Gasmangellage</vt:lpstr>
      <vt:lpstr>Notfallstufe – abhängig von Nord Stream 1 </vt:lpstr>
      <vt:lpstr>Infrastrukturmaßnahmen zur Importdiversifikation</vt:lpstr>
      <vt:lpstr>Vorhabenstandorte gemäß der Anlage zum LNGG</vt:lpstr>
      <vt:lpstr>Beschleunigter Hochlauf für Wasserstoff</vt:lpstr>
      <vt:lpstr>Wilhelmshavener-Anschluss-Leitung (WAL)</vt:lpstr>
      <vt:lpstr>LNG-Anbindung des Standortes Wilhelmshaven an die NETRA </vt:lpstr>
      <vt:lpstr>Szenario- und Ist-Zeitplan der WAL-Planfeststellung</vt:lpstr>
      <vt:lpstr>Auswirkungen des LNG-Beschleunigungsgesetzes auf die WAL</vt:lpstr>
      <vt:lpstr>Auswirkungen des LNGG auf das WAL-Projekt (I)</vt:lpstr>
      <vt:lpstr>Auswirkungen des LNGG auf das WAL-Projekt (II)</vt:lpstr>
      <vt:lpstr>Auswirkungen des LNGG auf das WAL-Projekt (III)</vt:lpstr>
      <vt:lpstr>Auswirkungen des LNGG auf das WAL-Projekt (IV)</vt:lpstr>
      <vt:lpstr>Auswirkungen des LNGG auf das WAL-Projekt (V)</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ambel (Ronnacker)</dc:title>
  <dc:creator>Schuppner, Thorsten</dc:creator>
  <dc:description/>
  <cp:lastModifiedBy>Brauner, Andre</cp:lastModifiedBy>
  <cp:revision>16</cp:revision>
  <dcterms:created xsi:type="dcterms:W3CDTF">2022-03-10T14:30:58Z</dcterms:created>
  <dcterms:modified xsi:type="dcterms:W3CDTF">2022-07-15T10:5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70ecacf-050b-4551-b726-15790b147a78_Enabled">
    <vt:lpwstr>true</vt:lpwstr>
  </property>
  <property fmtid="{D5CDD505-2E9C-101B-9397-08002B2CF9AE}" pid="3" name="MSIP_Label_970ecacf-050b-4551-b726-15790b147a78_Method">
    <vt:lpwstr>Standard</vt:lpwstr>
  </property>
  <property fmtid="{D5CDD505-2E9C-101B-9397-08002B2CF9AE}" pid="4" name="MSIP_Label_970ecacf-050b-4551-b726-15790b147a78_Name">
    <vt:lpwstr>intern</vt:lpwstr>
  </property>
  <property fmtid="{D5CDD505-2E9C-101B-9397-08002B2CF9AE}" pid="5" name="MSIP_Label_970ecacf-050b-4551-b726-15790b147a78_SiteId">
    <vt:lpwstr>fab862ab-17fa-42dc-bbfa-59ba0665ed88</vt:lpwstr>
  </property>
  <property fmtid="{D5CDD505-2E9C-101B-9397-08002B2CF9AE}" pid="6" name="MSIP_Label_970ecacf-050b-4551-b726-15790b147a78_ContentBits">
    <vt:lpwstr>0</vt:lpwstr>
  </property>
  <property fmtid="{D5CDD505-2E9C-101B-9397-08002B2CF9AE}" pid="7" name="MSIP_Label_970ecacf-050b-4551-b726-15790b147a78_SetDate">
    <vt:lpwstr>2022-03-10T14:36:39Z</vt:lpwstr>
  </property>
  <property fmtid="{D5CDD505-2E9C-101B-9397-08002B2CF9AE}" pid="8" name="MSIP_Label_970ecacf-050b-4551-b726-15790b147a78_ActionId">
    <vt:lpwstr>dc76d04a-ab3c-4503-9305-a8ec89ec45eb</vt:lpwstr>
  </property>
  <property fmtid="{D5CDD505-2E9C-101B-9397-08002B2CF9AE}" pid="9" name="ContentTypeId">
    <vt:lpwstr>0x010100827EF2DCFEFD664D9AFE0CC606E61C95</vt:lpwstr>
  </property>
</Properties>
</file>